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2" r:id="rId4"/>
    <p:sldMasterId id="2147483860" r:id="rId5"/>
    <p:sldMasterId id="2147483889" r:id="rId6"/>
    <p:sldMasterId id="2147483913" r:id="rId7"/>
  </p:sldMasterIdLst>
  <p:notesMasterIdLst>
    <p:notesMasterId r:id="rId59"/>
  </p:notesMasterIdLst>
  <p:handoutMasterIdLst>
    <p:handoutMasterId r:id="rId60"/>
  </p:handoutMasterIdLst>
  <p:sldIdLst>
    <p:sldId id="897" r:id="rId8"/>
    <p:sldId id="898" r:id="rId9"/>
    <p:sldId id="912" r:id="rId10"/>
    <p:sldId id="900" r:id="rId11"/>
    <p:sldId id="916" r:id="rId12"/>
    <p:sldId id="901" r:id="rId13"/>
    <p:sldId id="913" r:id="rId14"/>
    <p:sldId id="902" r:id="rId15"/>
    <p:sldId id="917" r:id="rId16"/>
    <p:sldId id="903" r:id="rId17"/>
    <p:sldId id="919" r:id="rId18"/>
    <p:sldId id="918" r:id="rId19"/>
    <p:sldId id="904" r:id="rId20"/>
    <p:sldId id="905" r:id="rId21"/>
    <p:sldId id="920" r:id="rId22"/>
    <p:sldId id="906" r:id="rId23"/>
    <p:sldId id="907" r:id="rId24"/>
    <p:sldId id="908" r:id="rId25"/>
    <p:sldId id="909" r:id="rId26"/>
    <p:sldId id="914" r:id="rId27"/>
    <p:sldId id="921" r:id="rId28"/>
    <p:sldId id="922" r:id="rId29"/>
    <p:sldId id="923" r:id="rId30"/>
    <p:sldId id="924" r:id="rId31"/>
    <p:sldId id="926" r:id="rId32"/>
    <p:sldId id="927" r:id="rId33"/>
    <p:sldId id="928" r:id="rId34"/>
    <p:sldId id="929" r:id="rId35"/>
    <p:sldId id="930" r:id="rId36"/>
    <p:sldId id="931" r:id="rId37"/>
    <p:sldId id="932" r:id="rId38"/>
    <p:sldId id="933" r:id="rId39"/>
    <p:sldId id="935" r:id="rId40"/>
    <p:sldId id="936" r:id="rId41"/>
    <p:sldId id="937" r:id="rId42"/>
    <p:sldId id="938" r:id="rId43"/>
    <p:sldId id="939" r:id="rId44"/>
    <p:sldId id="940" r:id="rId45"/>
    <p:sldId id="941" r:id="rId46"/>
    <p:sldId id="942" r:id="rId47"/>
    <p:sldId id="943" r:id="rId48"/>
    <p:sldId id="944" r:id="rId49"/>
    <p:sldId id="945" r:id="rId50"/>
    <p:sldId id="946" r:id="rId51"/>
    <p:sldId id="947" r:id="rId52"/>
    <p:sldId id="948" r:id="rId53"/>
    <p:sldId id="949" r:id="rId54"/>
    <p:sldId id="950" r:id="rId55"/>
    <p:sldId id="951" r:id="rId56"/>
    <p:sldId id="952" r:id="rId57"/>
    <p:sldId id="915" r:id="rId58"/>
  </p:sldIdLst>
  <p:sldSz cx="12192000" cy="6858000"/>
  <p:notesSz cx="7019925" cy="9305925"/>
  <p:defaultTextStyle>
    <a:defPPr>
      <a:defRPr lang="en-US"/>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57" autoAdjust="0"/>
    <p:restoredTop sz="93979" autoAdjust="0"/>
  </p:normalViewPr>
  <p:slideViewPr>
    <p:cSldViewPr snapToGrid="0" snapToObjects="1">
      <p:cViewPr varScale="1">
        <p:scale>
          <a:sx n="59" d="100"/>
          <a:sy n="59" d="100"/>
        </p:scale>
        <p:origin x="1232" y="56"/>
      </p:cViewPr>
      <p:guideLst>
        <p:guide orient="horz" pos="2160"/>
        <p:guide pos="3840"/>
      </p:guideLst>
    </p:cSldViewPr>
  </p:slideViewPr>
  <p:notesTextViewPr>
    <p:cViewPr>
      <p:scale>
        <a:sx n="3" d="2"/>
        <a:sy n="3" d="2"/>
      </p:scale>
      <p:origin x="0" y="0"/>
    </p:cViewPr>
  </p:notesTextViewPr>
  <p:sorterViewPr>
    <p:cViewPr>
      <p:scale>
        <a:sx n="134" d="100"/>
        <a:sy n="134"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handoutMaster" Target="handoutMasters/handout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r, Harjot" userId="7c5160cf-831a-4c68-8468-737842464d43" providerId="ADAL" clId="{2FA8B63E-EFE1-4B1A-A25A-32A87EC71C8D}"/>
    <pc:docChg chg="delSld modSld">
      <pc:chgData name="Kaur, Harjot" userId="7c5160cf-831a-4c68-8468-737842464d43" providerId="ADAL" clId="{2FA8B63E-EFE1-4B1A-A25A-32A87EC71C8D}" dt="2023-05-16T03:29:33.438" v="19" actId="47"/>
      <pc:docMkLst>
        <pc:docMk/>
      </pc:docMkLst>
      <pc:sldChg chg="modSp mod">
        <pc:chgData name="Kaur, Harjot" userId="7c5160cf-831a-4c68-8468-737842464d43" providerId="ADAL" clId="{2FA8B63E-EFE1-4B1A-A25A-32A87EC71C8D}" dt="2023-05-16T02:12:36.063" v="17" actId="20577"/>
        <pc:sldMkLst>
          <pc:docMk/>
          <pc:sldMk cId="2882035694" sldId="897"/>
        </pc:sldMkLst>
        <pc:spChg chg="mod">
          <ac:chgData name="Kaur, Harjot" userId="7c5160cf-831a-4c68-8468-737842464d43" providerId="ADAL" clId="{2FA8B63E-EFE1-4B1A-A25A-32A87EC71C8D}" dt="2023-05-16T02:12:36.063" v="17" actId="20577"/>
          <ac:spMkLst>
            <pc:docMk/>
            <pc:sldMk cId="2882035694" sldId="897"/>
            <ac:spMk id="6" creationId="{3702A82B-62F0-5D8E-C09D-95EF26835D70}"/>
          </ac:spMkLst>
        </pc:spChg>
      </pc:sldChg>
      <pc:sldChg chg="del">
        <pc:chgData name="Kaur, Harjot" userId="7c5160cf-831a-4c68-8468-737842464d43" providerId="ADAL" clId="{2FA8B63E-EFE1-4B1A-A25A-32A87EC71C8D}" dt="2023-05-16T03:12:46.296" v="18" actId="47"/>
        <pc:sldMkLst>
          <pc:docMk/>
          <pc:sldMk cId="3786975278" sldId="925"/>
        </pc:sldMkLst>
      </pc:sldChg>
      <pc:sldChg chg="del">
        <pc:chgData name="Kaur, Harjot" userId="7c5160cf-831a-4c68-8468-737842464d43" providerId="ADAL" clId="{2FA8B63E-EFE1-4B1A-A25A-32A87EC71C8D}" dt="2023-05-16T03:29:33.438" v="19" actId="47"/>
        <pc:sldMkLst>
          <pc:docMk/>
          <pc:sldMk cId="2530847048" sldId="934"/>
        </pc:sldMkLst>
      </pc:sldChg>
    </pc:docChg>
  </pc:docChgLst>
  <pc:docChgLst>
    <pc:chgData name="Chua Tony" userId="7deebee6-df33-46fc-9851-5225166dac4f" providerId="ADAL" clId="{EFE720D0-D4BC-4E6B-9F34-E01E06DCF76E}"/>
    <pc:docChg chg="undo custSel delSld modSld">
      <pc:chgData name="Chua Tony" userId="7deebee6-df33-46fc-9851-5225166dac4f" providerId="ADAL" clId="{EFE720D0-D4BC-4E6B-9F34-E01E06DCF76E}" dt="2023-04-27T07:53:41.035" v="1373" actId="2696"/>
      <pc:docMkLst>
        <pc:docMk/>
      </pc:docMkLst>
      <pc:sldChg chg="del">
        <pc:chgData name="Chua Tony" userId="7deebee6-df33-46fc-9851-5225166dac4f" providerId="ADAL" clId="{EFE720D0-D4BC-4E6B-9F34-E01E06DCF76E}" dt="2023-04-27T07:53:41.035" v="1373" actId="2696"/>
        <pc:sldMkLst>
          <pc:docMk/>
          <pc:sldMk cId="2332598555" sldId="275"/>
        </pc:sldMkLst>
      </pc:sldChg>
      <pc:sldChg chg="modSp mod">
        <pc:chgData name="Chua Tony" userId="7deebee6-df33-46fc-9851-5225166dac4f" providerId="ADAL" clId="{EFE720D0-D4BC-4E6B-9F34-E01E06DCF76E}" dt="2023-04-27T03:01:12.674" v="1" actId="20577"/>
        <pc:sldMkLst>
          <pc:docMk/>
          <pc:sldMk cId="2882035694" sldId="897"/>
        </pc:sldMkLst>
        <pc:spChg chg="mod">
          <ac:chgData name="Chua Tony" userId="7deebee6-df33-46fc-9851-5225166dac4f" providerId="ADAL" clId="{EFE720D0-D4BC-4E6B-9F34-E01E06DCF76E}" dt="2023-04-27T03:01:12.674" v="1" actId="20577"/>
          <ac:spMkLst>
            <pc:docMk/>
            <pc:sldMk cId="2882035694" sldId="897"/>
            <ac:spMk id="6" creationId="{3702A82B-62F0-5D8E-C09D-95EF26835D70}"/>
          </ac:spMkLst>
        </pc:spChg>
      </pc:sldChg>
      <pc:sldChg chg="addSp delSp modSp mod modClrScheme chgLayout">
        <pc:chgData name="Chua Tony" userId="7deebee6-df33-46fc-9851-5225166dac4f" providerId="ADAL" clId="{EFE720D0-D4BC-4E6B-9F34-E01E06DCF76E}" dt="2023-04-27T03:06:38.469" v="26" actId="1076"/>
        <pc:sldMkLst>
          <pc:docMk/>
          <pc:sldMk cId="2705705761" sldId="898"/>
        </pc:sldMkLst>
        <pc:spChg chg="add del mod ord">
          <ac:chgData name="Chua Tony" userId="7deebee6-df33-46fc-9851-5225166dac4f" providerId="ADAL" clId="{EFE720D0-D4BC-4E6B-9F34-E01E06DCF76E}" dt="2023-04-27T03:04:25.657" v="12" actId="478"/>
          <ac:spMkLst>
            <pc:docMk/>
            <pc:sldMk cId="2705705761" sldId="898"/>
            <ac:spMk id="2" creationId="{3D266EBA-B9A1-3CC6-1E36-211340B14BA0}"/>
          </ac:spMkLst>
        </pc:spChg>
        <pc:spChg chg="mod">
          <ac:chgData name="Chua Tony" userId="7deebee6-df33-46fc-9851-5225166dac4f" providerId="ADAL" clId="{EFE720D0-D4BC-4E6B-9F34-E01E06DCF76E}" dt="2023-04-27T03:04:31.384" v="14" actId="1076"/>
          <ac:spMkLst>
            <pc:docMk/>
            <pc:sldMk cId="2705705761" sldId="898"/>
            <ac:spMk id="15" creationId="{00000000-0000-0000-0000-000000000000}"/>
          </ac:spMkLst>
        </pc:spChg>
        <pc:spChg chg="del">
          <ac:chgData name="Chua Tony" userId="7deebee6-df33-46fc-9851-5225166dac4f" providerId="ADAL" clId="{EFE720D0-D4BC-4E6B-9F34-E01E06DCF76E}" dt="2023-04-27T03:06:17.438" v="21" actId="478"/>
          <ac:spMkLst>
            <pc:docMk/>
            <pc:sldMk cId="2705705761" sldId="898"/>
            <ac:spMk id="25" creationId="{00000000-0000-0000-0000-000000000000}"/>
          </ac:spMkLst>
        </pc:spChg>
        <pc:spChg chg="add del mod">
          <ac:chgData name="Chua Tony" userId="7deebee6-df33-46fc-9851-5225166dac4f" providerId="ADAL" clId="{EFE720D0-D4BC-4E6B-9F34-E01E06DCF76E}" dt="2023-04-27T03:06:38.469" v="26" actId="1076"/>
          <ac:spMkLst>
            <pc:docMk/>
            <pc:sldMk cId="2705705761" sldId="898"/>
            <ac:spMk id="30" creationId="{00000000-0000-0000-0000-000000000000}"/>
          </ac:spMkLst>
        </pc:spChg>
        <pc:spChg chg="del">
          <ac:chgData name="Chua Tony" userId="7deebee6-df33-46fc-9851-5225166dac4f" providerId="ADAL" clId="{EFE720D0-D4BC-4E6B-9F34-E01E06DCF76E}" dt="2023-04-27T03:06:22.315" v="23" actId="478"/>
          <ac:spMkLst>
            <pc:docMk/>
            <pc:sldMk cId="2705705761" sldId="898"/>
            <ac:spMk id="31" creationId="{00000000-0000-0000-0000-000000000000}"/>
          </ac:spMkLst>
        </pc:spChg>
        <pc:grpChg chg="del">
          <ac:chgData name="Chua Tony" userId="7deebee6-df33-46fc-9851-5225166dac4f" providerId="ADAL" clId="{EFE720D0-D4BC-4E6B-9F34-E01E06DCF76E}" dt="2023-04-27T03:02:28.065" v="3" actId="478"/>
          <ac:grpSpMkLst>
            <pc:docMk/>
            <pc:sldMk cId="2705705761" sldId="898"/>
            <ac:grpSpMk id="19" creationId="{00000000-0000-0000-0000-000000000000}"/>
          </ac:grpSpMkLst>
        </pc:grpChg>
        <pc:picChg chg="del">
          <ac:chgData name="Chua Tony" userId="7deebee6-df33-46fc-9851-5225166dac4f" providerId="ADAL" clId="{EFE720D0-D4BC-4E6B-9F34-E01E06DCF76E}" dt="2023-04-27T03:06:19.343" v="22" actId="478"/>
          <ac:picMkLst>
            <pc:docMk/>
            <pc:sldMk cId="2705705761" sldId="898"/>
            <ac:picMk id="24" creationId="{00000000-0000-0000-0000-000000000000}"/>
          </ac:picMkLst>
        </pc:picChg>
        <pc:cxnChg chg="del">
          <ac:chgData name="Chua Tony" userId="7deebee6-df33-46fc-9851-5225166dac4f" providerId="ADAL" clId="{EFE720D0-D4BC-4E6B-9F34-E01E06DCF76E}" dt="2023-04-27T03:06:23.437" v="24" actId="478"/>
          <ac:cxnSpMkLst>
            <pc:docMk/>
            <pc:sldMk cId="2705705761" sldId="898"/>
            <ac:cxnSpMk id="27" creationId="{00000000-0000-0000-0000-000000000000}"/>
          </ac:cxnSpMkLst>
        </pc:cxnChg>
      </pc:sldChg>
      <pc:sldChg chg="addSp delSp modSp mod modClrScheme chgLayout">
        <pc:chgData name="Chua Tony" userId="7deebee6-df33-46fc-9851-5225166dac4f" providerId="ADAL" clId="{EFE720D0-D4BC-4E6B-9F34-E01E06DCF76E}" dt="2023-04-27T03:07:13.307" v="112" actId="1036"/>
        <pc:sldMkLst>
          <pc:docMk/>
          <pc:sldMk cId="3549655955" sldId="900"/>
        </pc:sldMkLst>
        <pc:spChg chg="add del mod ord">
          <ac:chgData name="Chua Tony" userId="7deebee6-df33-46fc-9851-5225166dac4f" providerId="ADAL" clId="{EFE720D0-D4BC-4E6B-9F34-E01E06DCF76E}" dt="2023-04-27T03:06:57.451" v="102" actId="478"/>
          <ac:spMkLst>
            <pc:docMk/>
            <pc:sldMk cId="3549655955" sldId="900"/>
            <ac:spMk id="2" creationId="{FAB5BEA9-EFC3-527E-729A-E6D2C34D1420}"/>
          </ac:spMkLst>
        </pc:spChg>
        <pc:spChg chg="del">
          <ac:chgData name="Chua Tony" userId="7deebee6-df33-46fc-9851-5225166dac4f" providerId="ADAL" clId="{EFE720D0-D4BC-4E6B-9F34-E01E06DCF76E}" dt="2023-04-27T03:07:04.409" v="104" actId="478"/>
          <ac:spMkLst>
            <pc:docMk/>
            <pc:sldMk cId="3549655955" sldId="900"/>
            <ac:spMk id="25" creationId="{00000000-0000-0000-0000-000000000000}"/>
          </ac:spMkLst>
        </pc:spChg>
        <pc:spChg chg="mod">
          <ac:chgData name="Chua Tony" userId="7deebee6-df33-46fc-9851-5225166dac4f" providerId="ADAL" clId="{EFE720D0-D4BC-4E6B-9F34-E01E06DCF76E}" dt="2023-04-27T03:06:52.619" v="101" actId="1036"/>
          <ac:spMkLst>
            <pc:docMk/>
            <pc:sldMk cId="3549655955" sldId="900"/>
            <ac:spMk id="30" creationId="{00000000-0000-0000-0000-000000000000}"/>
          </ac:spMkLst>
        </pc:spChg>
        <pc:spChg chg="del">
          <ac:chgData name="Chua Tony" userId="7deebee6-df33-46fc-9851-5225166dac4f" providerId="ADAL" clId="{EFE720D0-D4BC-4E6B-9F34-E01E06DCF76E}" dt="2023-04-27T03:07:09.768" v="107" actId="478"/>
          <ac:spMkLst>
            <pc:docMk/>
            <pc:sldMk cId="3549655955" sldId="900"/>
            <ac:spMk id="31" creationId="{00000000-0000-0000-0000-000000000000}"/>
          </ac:spMkLst>
        </pc:spChg>
        <pc:grpChg chg="del">
          <ac:chgData name="Chua Tony" userId="7deebee6-df33-46fc-9851-5225166dac4f" providerId="ADAL" clId="{EFE720D0-D4BC-4E6B-9F34-E01E06DCF76E}" dt="2023-04-27T03:06:42.591" v="27" actId="478"/>
          <ac:grpSpMkLst>
            <pc:docMk/>
            <pc:sldMk cId="3549655955" sldId="900"/>
            <ac:grpSpMk id="19" creationId="{00000000-0000-0000-0000-000000000000}"/>
          </ac:grpSpMkLst>
        </pc:grpChg>
        <pc:picChg chg="mod">
          <ac:chgData name="Chua Tony" userId="7deebee6-df33-46fc-9851-5225166dac4f" providerId="ADAL" clId="{EFE720D0-D4BC-4E6B-9F34-E01E06DCF76E}" dt="2023-04-27T03:07:13.307" v="112" actId="1036"/>
          <ac:picMkLst>
            <pc:docMk/>
            <pc:sldMk cId="3549655955" sldId="900"/>
            <ac:picMk id="17" creationId="{00000000-0000-0000-0000-000000000000}"/>
          </ac:picMkLst>
        </pc:picChg>
        <pc:picChg chg="del">
          <ac:chgData name="Chua Tony" userId="7deebee6-df33-46fc-9851-5225166dac4f" providerId="ADAL" clId="{EFE720D0-D4BC-4E6B-9F34-E01E06DCF76E}" dt="2023-04-27T03:07:07.039" v="106" actId="478"/>
          <ac:picMkLst>
            <pc:docMk/>
            <pc:sldMk cId="3549655955" sldId="900"/>
            <ac:picMk id="24" creationId="{00000000-0000-0000-0000-000000000000}"/>
          </ac:picMkLst>
        </pc:picChg>
        <pc:cxnChg chg="del">
          <ac:chgData name="Chua Tony" userId="7deebee6-df33-46fc-9851-5225166dac4f" providerId="ADAL" clId="{EFE720D0-D4BC-4E6B-9F34-E01E06DCF76E}" dt="2023-04-27T03:07:05.939" v="105" actId="478"/>
          <ac:cxnSpMkLst>
            <pc:docMk/>
            <pc:sldMk cId="3549655955" sldId="900"/>
            <ac:cxnSpMk id="27" creationId="{00000000-0000-0000-0000-000000000000}"/>
          </ac:cxnSpMkLst>
        </pc:cxnChg>
      </pc:sldChg>
      <pc:sldChg chg="addSp delSp modSp mod modClrScheme chgLayout">
        <pc:chgData name="Chua Tony" userId="7deebee6-df33-46fc-9851-5225166dac4f" providerId="ADAL" clId="{EFE720D0-D4BC-4E6B-9F34-E01E06DCF76E}" dt="2023-04-27T07:51:56.992" v="1370" actId="14100"/>
        <pc:sldMkLst>
          <pc:docMk/>
          <pc:sldMk cId="3748158934" sldId="901"/>
        </pc:sldMkLst>
        <pc:spChg chg="add del mod ord">
          <ac:chgData name="Chua Tony" userId="7deebee6-df33-46fc-9851-5225166dac4f" providerId="ADAL" clId="{EFE720D0-D4BC-4E6B-9F34-E01E06DCF76E}" dt="2023-04-27T06:15:10.667" v="118" actId="478"/>
          <ac:spMkLst>
            <pc:docMk/>
            <pc:sldMk cId="3748158934" sldId="901"/>
            <ac:spMk id="2" creationId="{50A3A6D1-27DE-FB92-985C-CEA4C232F5A2}"/>
          </ac:spMkLst>
        </pc:spChg>
        <pc:spChg chg="del">
          <ac:chgData name="Chua Tony" userId="7deebee6-df33-46fc-9851-5225166dac4f" providerId="ADAL" clId="{EFE720D0-D4BC-4E6B-9F34-E01E06DCF76E}" dt="2023-04-27T06:15:03.508" v="115" actId="478"/>
          <ac:spMkLst>
            <pc:docMk/>
            <pc:sldMk cId="3748158934" sldId="901"/>
            <ac:spMk id="25" creationId="{00000000-0000-0000-0000-000000000000}"/>
          </ac:spMkLst>
        </pc:spChg>
        <pc:spChg chg="mod">
          <ac:chgData name="Chua Tony" userId="7deebee6-df33-46fc-9851-5225166dac4f" providerId="ADAL" clId="{EFE720D0-D4BC-4E6B-9F34-E01E06DCF76E}" dt="2023-04-27T06:15:19.323" v="181" actId="1037"/>
          <ac:spMkLst>
            <pc:docMk/>
            <pc:sldMk cId="3748158934" sldId="901"/>
            <ac:spMk id="30" creationId="{00000000-0000-0000-0000-000000000000}"/>
          </ac:spMkLst>
        </pc:spChg>
        <pc:spChg chg="del">
          <ac:chgData name="Chua Tony" userId="7deebee6-df33-46fc-9851-5225166dac4f" providerId="ADAL" clId="{EFE720D0-D4BC-4E6B-9F34-E01E06DCF76E}" dt="2023-04-27T06:15:07.781" v="117" actId="478"/>
          <ac:spMkLst>
            <pc:docMk/>
            <pc:sldMk cId="3748158934" sldId="901"/>
            <ac:spMk id="31" creationId="{00000000-0000-0000-0000-000000000000}"/>
          </ac:spMkLst>
        </pc:spChg>
        <pc:spChg chg="mod">
          <ac:chgData name="Chua Tony" userId="7deebee6-df33-46fc-9851-5225166dac4f" providerId="ADAL" clId="{EFE720D0-D4BC-4E6B-9F34-E01E06DCF76E}" dt="2023-04-27T07:51:56.992" v="1370" actId="14100"/>
          <ac:spMkLst>
            <pc:docMk/>
            <pc:sldMk cId="3748158934" sldId="901"/>
            <ac:spMk id="70" creationId="{00000000-0000-0000-0000-000000000000}"/>
          </ac:spMkLst>
        </pc:spChg>
        <pc:spChg chg="mod">
          <ac:chgData name="Chua Tony" userId="7deebee6-df33-46fc-9851-5225166dac4f" providerId="ADAL" clId="{EFE720D0-D4BC-4E6B-9F34-E01E06DCF76E}" dt="2023-04-27T06:17:01.161" v="380" actId="1036"/>
          <ac:spMkLst>
            <pc:docMk/>
            <pc:sldMk cId="3748158934" sldId="901"/>
            <ac:spMk id="71" creationId="{00000000-0000-0000-0000-000000000000}"/>
          </ac:spMkLst>
        </pc:spChg>
        <pc:grpChg chg="del">
          <ac:chgData name="Chua Tony" userId="7deebee6-df33-46fc-9851-5225166dac4f" providerId="ADAL" clId="{EFE720D0-D4BC-4E6B-9F34-E01E06DCF76E}" dt="2023-04-27T06:15:00.387" v="113" actId="478"/>
          <ac:grpSpMkLst>
            <pc:docMk/>
            <pc:sldMk cId="3748158934" sldId="901"/>
            <ac:grpSpMk id="19" creationId="{00000000-0000-0000-0000-000000000000}"/>
          </ac:grpSpMkLst>
        </pc:grpChg>
        <pc:picChg chg="del">
          <ac:chgData name="Chua Tony" userId="7deebee6-df33-46fc-9851-5225166dac4f" providerId="ADAL" clId="{EFE720D0-D4BC-4E6B-9F34-E01E06DCF76E}" dt="2023-04-27T06:15:02.452" v="114" actId="478"/>
          <ac:picMkLst>
            <pc:docMk/>
            <pc:sldMk cId="3748158934" sldId="901"/>
            <ac:picMk id="24" creationId="{00000000-0000-0000-0000-000000000000}"/>
          </ac:picMkLst>
        </pc:picChg>
        <pc:cxnChg chg="del">
          <ac:chgData name="Chua Tony" userId="7deebee6-df33-46fc-9851-5225166dac4f" providerId="ADAL" clId="{EFE720D0-D4BC-4E6B-9F34-E01E06DCF76E}" dt="2023-04-27T06:15:05.724" v="116" actId="478"/>
          <ac:cxnSpMkLst>
            <pc:docMk/>
            <pc:sldMk cId="3748158934" sldId="901"/>
            <ac:cxnSpMk id="27" creationId="{00000000-0000-0000-0000-000000000000}"/>
          </ac:cxnSpMkLst>
        </pc:cxnChg>
      </pc:sldChg>
      <pc:sldChg chg="addSp delSp modSp mod modClrScheme chgLayout">
        <pc:chgData name="Chua Tony" userId="7deebee6-df33-46fc-9851-5225166dac4f" providerId="ADAL" clId="{EFE720D0-D4BC-4E6B-9F34-E01E06DCF76E}" dt="2023-04-27T06:16:26.826" v="330" actId="1037"/>
        <pc:sldMkLst>
          <pc:docMk/>
          <pc:sldMk cId="669194668" sldId="902"/>
        </pc:sldMkLst>
        <pc:spChg chg="add del mod ord">
          <ac:chgData name="Chua Tony" userId="7deebee6-df33-46fc-9851-5225166dac4f" providerId="ADAL" clId="{EFE720D0-D4BC-4E6B-9F34-E01E06DCF76E}" dt="2023-04-27T06:15:59.075" v="263" actId="478"/>
          <ac:spMkLst>
            <pc:docMk/>
            <pc:sldMk cId="669194668" sldId="902"/>
            <ac:spMk id="4" creationId="{28D66414-2CF8-7583-5ECC-762C796BF3AD}"/>
          </ac:spMkLst>
        </pc:spChg>
        <pc:spChg chg="del">
          <ac:chgData name="Chua Tony" userId="7deebee6-df33-46fc-9851-5225166dac4f" providerId="ADAL" clId="{EFE720D0-D4BC-4E6B-9F34-E01E06DCF76E}" dt="2023-04-27T06:16:12.394" v="264" actId="478"/>
          <ac:spMkLst>
            <pc:docMk/>
            <pc:sldMk cId="669194668" sldId="902"/>
            <ac:spMk id="25" creationId="{00000000-0000-0000-0000-000000000000}"/>
          </ac:spMkLst>
        </pc:spChg>
        <pc:spChg chg="mod">
          <ac:chgData name="Chua Tony" userId="7deebee6-df33-46fc-9851-5225166dac4f" providerId="ADAL" clId="{EFE720D0-D4BC-4E6B-9F34-E01E06DCF76E}" dt="2023-04-27T06:16:26.826" v="330" actId="1037"/>
          <ac:spMkLst>
            <pc:docMk/>
            <pc:sldMk cId="669194668" sldId="902"/>
            <ac:spMk id="30" creationId="{00000000-0000-0000-0000-000000000000}"/>
          </ac:spMkLst>
        </pc:spChg>
        <pc:spChg chg="del">
          <ac:chgData name="Chua Tony" userId="7deebee6-df33-46fc-9851-5225166dac4f" providerId="ADAL" clId="{EFE720D0-D4BC-4E6B-9F34-E01E06DCF76E}" dt="2023-04-27T06:16:12.394" v="264" actId="478"/>
          <ac:spMkLst>
            <pc:docMk/>
            <pc:sldMk cId="669194668" sldId="902"/>
            <ac:spMk id="31" creationId="{00000000-0000-0000-0000-000000000000}"/>
          </ac:spMkLst>
        </pc:spChg>
        <pc:grpChg chg="del">
          <ac:chgData name="Chua Tony" userId="7deebee6-df33-46fc-9851-5225166dac4f" providerId="ADAL" clId="{EFE720D0-D4BC-4E6B-9F34-E01E06DCF76E}" dt="2023-04-27T06:16:17.953" v="267" actId="478"/>
          <ac:grpSpMkLst>
            <pc:docMk/>
            <pc:sldMk cId="669194668" sldId="902"/>
            <ac:grpSpMk id="19" creationId="{00000000-0000-0000-0000-000000000000}"/>
          </ac:grpSpMkLst>
        </pc:grpChg>
        <pc:picChg chg="del">
          <ac:chgData name="Chua Tony" userId="7deebee6-df33-46fc-9851-5225166dac4f" providerId="ADAL" clId="{EFE720D0-D4BC-4E6B-9F34-E01E06DCF76E}" dt="2023-04-27T06:16:16.250" v="266" actId="478"/>
          <ac:picMkLst>
            <pc:docMk/>
            <pc:sldMk cId="669194668" sldId="902"/>
            <ac:picMk id="24" creationId="{00000000-0000-0000-0000-000000000000}"/>
          </ac:picMkLst>
        </pc:picChg>
        <pc:cxnChg chg="del">
          <ac:chgData name="Chua Tony" userId="7deebee6-df33-46fc-9851-5225166dac4f" providerId="ADAL" clId="{EFE720D0-D4BC-4E6B-9F34-E01E06DCF76E}" dt="2023-04-27T06:16:15.218" v="265" actId="478"/>
          <ac:cxnSpMkLst>
            <pc:docMk/>
            <pc:sldMk cId="669194668" sldId="902"/>
            <ac:cxnSpMk id="27" creationId="{00000000-0000-0000-0000-000000000000}"/>
          </ac:cxnSpMkLst>
        </pc:cxnChg>
      </pc:sldChg>
      <pc:sldChg chg="addSp delSp modSp mod modClrScheme chgLayout">
        <pc:chgData name="Chua Tony" userId="7deebee6-df33-46fc-9851-5225166dac4f" providerId="ADAL" clId="{EFE720D0-D4BC-4E6B-9F34-E01E06DCF76E}" dt="2023-04-27T06:22:21.312" v="475" actId="20577"/>
        <pc:sldMkLst>
          <pc:docMk/>
          <pc:sldMk cId="34890027" sldId="903"/>
        </pc:sldMkLst>
        <pc:spChg chg="add del mod ord">
          <ac:chgData name="Chua Tony" userId="7deebee6-df33-46fc-9851-5225166dac4f" providerId="ADAL" clId="{EFE720D0-D4BC-4E6B-9F34-E01E06DCF76E}" dt="2023-04-27T06:21:46.390" v="381" actId="478"/>
          <ac:spMkLst>
            <pc:docMk/>
            <pc:sldMk cId="34890027" sldId="903"/>
            <ac:spMk id="3" creationId="{E38B0D0B-83CF-D6D2-DFB3-052CEA63502A}"/>
          </ac:spMkLst>
        </pc:spChg>
        <pc:spChg chg="mod">
          <ac:chgData name="Chua Tony" userId="7deebee6-df33-46fc-9851-5225166dac4f" providerId="ADAL" clId="{EFE720D0-D4BC-4E6B-9F34-E01E06DCF76E}" dt="2023-04-27T06:22:21.312" v="475" actId="20577"/>
          <ac:spMkLst>
            <pc:docMk/>
            <pc:sldMk cId="34890027" sldId="903"/>
            <ac:spMk id="14" creationId="{00000000-0000-0000-0000-000000000000}"/>
          </ac:spMkLst>
        </pc:spChg>
        <pc:spChg chg="del">
          <ac:chgData name="Chua Tony" userId="7deebee6-df33-46fc-9851-5225166dac4f" providerId="ADAL" clId="{EFE720D0-D4BC-4E6B-9F34-E01E06DCF76E}" dt="2023-04-27T06:21:52.870" v="385" actId="478"/>
          <ac:spMkLst>
            <pc:docMk/>
            <pc:sldMk cId="34890027" sldId="903"/>
            <ac:spMk id="25" creationId="{00000000-0000-0000-0000-000000000000}"/>
          </ac:spMkLst>
        </pc:spChg>
        <pc:spChg chg="mod">
          <ac:chgData name="Chua Tony" userId="7deebee6-df33-46fc-9851-5225166dac4f" providerId="ADAL" clId="{EFE720D0-D4BC-4E6B-9F34-E01E06DCF76E}" dt="2023-04-27T06:22:05.134" v="439" actId="1037"/>
          <ac:spMkLst>
            <pc:docMk/>
            <pc:sldMk cId="34890027" sldId="903"/>
            <ac:spMk id="30" creationId="{00000000-0000-0000-0000-000000000000}"/>
          </ac:spMkLst>
        </pc:spChg>
        <pc:spChg chg="del">
          <ac:chgData name="Chua Tony" userId="7deebee6-df33-46fc-9851-5225166dac4f" providerId="ADAL" clId="{EFE720D0-D4BC-4E6B-9F34-E01E06DCF76E}" dt="2023-04-27T06:21:51.038" v="383" actId="478"/>
          <ac:spMkLst>
            <pc:docMk/>
            <pc:sldMk cId="34890027" sldId="903"/>
            <ac:spMk id="31" creationId="{00000000-0000-0000-0000-000000000000}"/>
          </ac:spMkLst>
        </pc:spChg>
        <pc:grpChg chg="del">
          <ac:chgData name="Chua Tony" userId="7deebee6-df33-46fc-9851-5225166dac4f" providerId="ADAL" clId="{EFE720D0-D4BC-4E6B-9F34-E01E06DCF76E}" dt="2023-04-27T06:21:48.902" v="382" actId="478"/>
          <ac:grpSpMkLst>
            <pc:docMk/>
            <pc:sldMk cId="34890027" sldId="903"/>
            <ac:grpSpMk id="19" creationId="{00000000-0000-0000-0000-000000000000}"/>
          </ac:grpSpMkLst>
        </pc:grpChg>
        <pc:picChg chg="mod">
          <ac:chgData name="Chua Tony" userId="7deebee6-df33-46fc-9851-5225166dac4f" providerId="ADAL" clId="{EFE720D0-D4BC-4E6B-9F34-E01E06DCF76E}" dt="2023-04-27T06:22:13.112" v="473" actId="1038"/>
          <ac:picMkLst>
            <pc:docMk/>
            <pc:sldMk cId="34890027" sldId="903"/>
            <ac:picMk id="2" creationId="{00000000-0000-0000-0000-000000000000}"/>
          </ac:picMkLst>
        </pc:picChg>
        <pc:picChg chg="del">
          <ac:chgData name="Chua Tony" userId="7deebee6-df33-46fc-9851-5225166dac4f" providerId="ADAL" clId="{EFE720D0-D4BC-4E6B-9F34-E01E06DCF76E}" dt="2023-04-27T06:21:54.358" v="386" actId="478"/>
          <ac:picMkLst>
            <pc:docMk/>
            <pc:sldMk cId="34890027" sldId="903"/>
            <ac:picMk id="24" creationId="{00000000-0000-0000-0000-000000000000}"/>
          </ac:picMkLst>
        </pc:picChg>
        <pc:cxnChg chg="del">
          <ac:chgData name="Chua Tony" userId="7deebee6-df33-46fc-9851-5225166dac4f" providerId="ADAL" clId="{EFE720D0-D4BC-4E6B-9F34-E01E06DCF76E}" dt="2023-04-27T06:21:51.854" v="384" actId="478"/>
          <ac:cxnSpMkLst>
            <pc:docMk/>
            <pc:sldMk cId="34890027" sldId="903"/>
            <ac:cxnSpMk id="27" creationId="{00000000-0000-0000-0000-000000000000}"/>
          </ac:cxnSpMkLst>
        </pc:cxnChg>
      </pc:sldChg>
      <pc:sldChg chg="addSp delSp modSp mod modClrScheme chgLayout">
        <pc:chgData name="Chua Tony" userId="7deebee6-df33-46fc-9851-5225166dac4f" providerId="ADAL" clId="{EFE720D0-D4BC-4E6B-9F34-E01E06DCF76E}" dt="2023-04-27T06:23:32.999" v="598" actId="1036"/>
        <pc:sldMkLst>
          <pc:docMk/>
          <pc:sldMk cId="954995722" sldId="904"/>
        </pc:sldMkLst>
        <pc:spChg chg="add del mod ord">
          <ac:chgData name="Chua Tony" userId="7deebee6-df33-46fc-9851-5225166dac4f" providerId="ADAL" clId="{EFE720D0-D4BC-4E6B-9F34-E01E06DCF76E}" dt="2023-04-27T06:22:28.502" v="476" actId="478"/>
          <ac:spMkLst>
            <pc:docMk/>
            <pc:sldMk cId="954995722" sldId="904"/>
            <ac:spMk id="5" creationId="{32AB11BD-DED5-62AB-5A3D-9D2BAE2CE0AC}"/>
          </ac:spMkLst>
        </pc:spChg>
        <pc:spChg chg="mod">
          <ac:chgData name="Chua Tony" userId="7deebee6-df33-46fc-9851-5225166dac4f" providerId="ADAL" clId="{EFE720D0-D4BC-4E6B-9F34-E01E06DCF76E}" dt="2023-04-27T06:23:32.999" v="598" actId="1036"/>
          <ac:spMkLst>
            <pc:docMk/>
            <pc:sldMk cId="954995722" sldId="904"/>
            <ac:spMk id="14" creationId="{00000000-0000-0000-0000-000000000000}"/>
          </ac:spMkLst>
        </pc:spChg>
        <pc:spChg chg="del">
          <ac:chgData name="Chua Tony" userId="7deebee6-df33-46fc-9851-5225166dac4f" providerId="ADAL" clId="{EFE720D0-D4BC-4E6B-9F34-E01E06DCF76E}" dt="2023-04-27T06:22:32.286" v="479" actId="478"/>
          <ac:spMkLst>
            <pc:docMk/>
            <pc:sldMk cId="954995722" sldId="904"/>
            <ac:spMk id="25" creationId="{00000000-0000-0000-0000-000000000000}"/>
          </ac:spMkLst>
        </pc:spChg>
        <pc:spChg chg="mod">
          <ac:chgData name="Chua Tony" userId="7deebee6-df33-46fc-9851-5225166dac4f" providerId="ADAL" clId="{EFE720D0-D4BC-4E6B-9F34-E01E06DCF76E}" dt="2023-04-27T06:23:10.156" v="564" actId="1038"/>
          <ac:spMkLst>
            <pc:docMk/>
            <pc:sldMk cId="954995722" sldId="904"/>
            <ac:spMk id="29" creationId="{00000000-0000-0000-0000-000000000000}"/>
          </ac:spMkLst>
        </pc:spChg>
        <pc:spChg chg="mod">
          <ac:chgData name="Chua Tony" userId="7deebee6-df33-46fc-9851-5225166dac4f" providerId="ADAL" clId="{EFE720D0-D4BC-4E6B-9F34-E01E06DCF76E}" dt="2023-04-27T06:23:18.765" v="567" actId="1037"/>
          <ac:spMkLst>
            <pc:docMk/>
            <pc:sldMk cId="954995722" sldId="904"/>
            <ac:spMk id="30" creationId="{00000000-0000-0000-0000-000000000000}"/>
          </ac:spMkLst>
        </pc:spChg>
        <pc:spChg chg="del">
          <ac:chgData name="Chua Tony" userId="7deebee6-df33-46fc-9851-5225166dac4f" providerId="ADAL" clId="{EFE720D0-D4BC-4E6B-9F34-E01E06DCF76E}" dt="2023-04-27T06:22:30.566" v="477" actId="478"/>
          <ac:spMkLst>
            <pc:docMk/>
            <pc:sldMk cId="954995722" sldId="904"/>
            <ac:spMk id="31" creationId="{00000000-0000-0000-0000-000000000000}"/>
          </ac:spMkLst>
        </pc:spChg>
        <pc:grpChg chg="del">
          <ac:chgData name="Chua Tony" userId="7deebee6-df33-46fc-9851-5225166dac4f" providerId="ADAL" clId="{EFE720D0-D4BC-4E6B-9F34-E01E06DCF76E}" dt="2023-04-27T06:22:35.598" v="481" actId="478"/>
          <ac:grpSpMkLst>
            <pc:docMk/>
            <pc:sldMk cId="954995722" sldId="904"/>
            <ac:grpSpMk id="19" creationId="{00000000-0000-0000-0000-000000000000}"/>
          </ac:grpSpMkLst>
        </pc:grpChg>
        <pc:picChg chg="del">
          <ac:chgData name="Chua Tony" userId="7deebee6-df33-46fc-9851-5225166dac4f" providerId="ADAL" clId="{EFE720D0-D4BC-4E6B-9F34-E01E06DCF76E}" dt="2023-04-27T06:22:33.389" v="480" actId="478"/>
          <ac:picMkLst>
            <pc:docMk/>
            <pc:sldMk cId="954995722" sldId="904"/>
            <ac:picMk id="24" creationId="{00000000-0000-0000-0000-000000000000}"/>
          </ac:picMkLst>
        </pc:picChg>
        <pc:cxnChg chg="del">
          <ac:chgData name="Chua Tony" userId="7deebee6-df33-46fc-9851-5225166dac4f" providerId="ADAL" clId="{EFE720D0-D4BC-4E6B-9F34-E01E06DCF76E}" dt="2023-04-27T06:22:31.558" v="478" actId="478"/>
          <ac:cxnSpMkLst>
            <pc:docMk/>
            <pc:sldMk cId="954995722" sldId="904"/>
            <ac:cxnSpMk id="27" creationId="{00000000-0000-0000-0000-000000000000}"/>
          </ac:cxnSpMkLst>
        </pc:cxnChg>
      </pc:sldChg>
      <pc:sldChg chg="addSp delSp modSp mod modClrScheme chgLayout">
        <pc:chgData name="Chua Tony" userId="7deebee6-df33-46fc-9851-5225166dac4f" providerId="ADAL" clId="{EFE720D0-D4BC-4E6B-9F34-E01E06DCF76E}" dt="2023-04-27T06:24:15.581" v="723" actId="14100"/>
        <pc:sldMkLst>
          <pc:docMk/>
          <pc:sldMk cId="3481766773" sldId="905"/>
        </pc:sldMkLst>
        <pc:spChg chg="add del mod ord">
          <ac:chgData name="Chua Tony" userId="7deebee6-df33-46fc-9851-5225166dac4f" providerId="ADAL" clId="{EFE720D0-D4BC-4E6B-9F34-E01E06DCF76E}" dt="2023-04-27T06:23:47.966" v="603" actId="478"/>
          <ac:spMkLst>
            <pc:docMk/>
            <pc:sldMk cId="3481766773" sldId="905"/>
            <ac:spMk id="3" creationId="{52ED2D59-AAFB-86DD-70BF-6AA1BC1AE2DB}"/>
          </ac:spMkLst>
        </pc:spChg>
        <pc:spChg chg="mod">
          <ac:chgData name="Chua Tony" userId="7deebee6-df33-46fc-9851-5225166dac4f" providerId="ADAL" clId="{EFE720D0-D4BC-4E6B-9F34-E01E06DCF76E}" dt="2023-04-27T06:24:15.581" v="723" actId="14100"/>
          <ac:spMkLst>
            <pc:docMk/>
            <pc:sldMk cId="3481766773" sldId="905"/>
            <ac:spMk id="14" creationId="{8D8450D0-F0C1-4575-A734-4238402F1085}"/>
          </ac:spMkLst>
        </pc:spChg>
        <pc:spChg chg="del">
          <ac:chgData name="Chua Tony" userId="7deebee6-df33-46fc-9851-5225166dac4f" providerId="ADAL" clId="{EFE720D0-D4BC-4E6B-9F34-E01E06DCF76E}" dt="2023-04-27T06:23:49.901" v="604" actId="478"/>
          <ac:spMkLst>
            <pc:docMk/>
            <pc:sldMk cId="3481766773" sldId="905"/>
            <ac:spMk id="25" creationId="{00000000-0000-0000-0000-000000000000}"/>
          </ac:spMkLst>
        </pc:spChg>
        <pc:spChg chg="mod">
          <ac:chgData name="Chua Tony" userId="7deebee6-df33-46fc-9851-5225166dac4f" providerId="ADAL" clId="{EFE720D0-D4BC-4E6B-9F34-E01E06DCF76E}" dt="2023-04-27T06:24:02.941" v="670" actId="1037"/>
          <ac:spMkLst>
            <pc:docMk/>
            <pc:sldMk cId="3481766773" sldId="905"/>
            <ac:spMk id="30" creationId="{00000000-0000-0000-0000-000000000000}"/>
          </ac:spMkLst>
        </pc:spChg>
        <pc:spChg chg="del">
          <ac:chgData name="Chua Tony" userId="7deebee6-df33-46fc-9851-5225166dac4f" providerId="ADAL" clId="{EFE720D0-D4BC-4E6B-9F34-E01E06DCF76E}" dt="2023-04-27T06:23:51.165" v="605" actId="478"/>
          <ac:spMkLst>
            <pc:docMk/>
            <pc:sldMk cId="3481766773" sldId="905"/>
            <ac:spMk id="31" creationId="{00000000-0000-0000-0000-000000000000}"/>
          </ac:spMkLst>
        </pc:spChg>
        <pc:grpChg chg="del">
          <ac:chgData name="Chua Tony" userId="7deebee6-df33-46fc-9851-5225166dac4f" providerId="ADAL" clId="{EFE720D0-D4BC-4E6B-9F34-E01E06DCF76E}" dt="2023-04-27T06:23:55.757" v="608" actId="478"/>
          <ac:grpSpMkLst>
            <pc:docMk/>
            <pc:sldMk cId="3481766773" sldId="905"/>
            <ac:grpSpMk id="19" creationId="{00000000-0000-0000-0000-000000000000}"/>
          </ac:grpSpMkLst>
        </pc:grpChg>
        <pc:picChg chg="del">
          <ac:chgData name="Chua Tony" userId="7deebee6-df33-46fc-9851-5225166dac4f" providerId="ADAL" clId="{EFE720D0-D4BC-4E6B-9F34-E01E06DCF76E}" dt="2023-04-27T06:23:52.205" v="606" actId="478"/>
          <ac:picMkLst>
            <pc:docMk/>
            <pc:sldMk cId="3481766773" sldId="905"/>
            <ac:picMk id="24" creationId="{00000000-0000-0000-0000-000000000000}"/>
          </ac:picMkLst>
        </pc:picChg>
        <pc:cxnChg chg="del">
          <ac:chgData name="Chua Tony" userId="7deebee6-df33-46fc-9851-5225166dac4f" providerId="ADAL" clId="{EFE720D0-D4BC-4E6B-9F34-E01E06DCF76E}" dt="2023-04-27T06:23:53.086" v="607" actId="478"/>
          <ac:cxnSpMkLst>
            <pc:docMk/>
            <pc:sldMk cId="3481766773" sldId="905"/>
            <ac:cxnSpMk id="27" creationId="{00000000-0000-0000-0000-000000000000}"/>
          </ac:cxnSpMkLst>
        </pc:cxnChg>
      </pc:sldChg>
      <pc:sldChg chg="addSp delSp modSp mod modClrScheme chgLayout">
        <pc:chgData name="Chua Tony" userId="7deebee6-df33-46fc-9851-5225166dac4f" providerId="ADAL" clId="{EFE720D0-D4BC-4E6B-9F34-E01E06DCF76E}" dt="2023-04-27T06:25:33.361" v="817" actId="1037"/>
        <pc:sldMkLst>
          <pc:docMk/>
          <pc:sldMk cId="133660185" sldId="906"/>
        </pc:sldMkLst>
        <pc:spChg chg="add del mod ord">
          <ac:chgData name="Chua Tony" userId="7deebee6-df33-46fc-9851-5225166dac4f" providerId="ADAL" clId="{EFE720D0-D4BC-4E6B-9F34-E01E06DCF76E}" dt="2023-04-27T06:24:24.061" v="724" actId="478"/>
          <ac:spMkLst>
            <pc:docMk/>
            <pc:sldMk cId="133660185" sldId="906"/>
            <ac:spMk id="2" creationId="{702FD7F5-1725-9E55-4EA8-480449A76C6D}"/>
          </ac:spMkLst>
        </pc:spChg>
        <pc:spChg chg="mod">
          <ac:chgData name="Chua Tony" userId="7deebee6-df33-46fc-9851-5225166dac4f" providerId="ADAL" clId="{EFE720D0-D4BC-4E6B-9F34-E01E06DCF76E}" dt="2023-04-27T06:24:38.825" v="731" actId="14100"/>
          <ac:spMkLst>
            <pc:docMk/>
            <pc:sldMk cId="133660185" sldId="906"/>
            <ac:spMk id="14" creationId="{00000000-0000-0000-0000-000000000000}"/>
          </ac:spMkLst>
        </pc:spChg>
        <pc:spChg chg="del">
          <ac:chgData name="Chua Tony" userId="7deebee6-df33-46fc-9851-5225166dac4f" providerId="ADAL" clId="{EFE720D0-D4BC-4E6B-9F34-E01E06DCF76E}" dt="2023-04-27T06:24:28.422" v="726" actId="478"/>
          <ac:spMkLst>
            <pc:docMk/>
            <pc:sldMk cId="133660185" sldId="906"/>
            <ac:spMk id="25" creationId="{00000000-0000-0000-0000-000000000000}"/>
          </ac:spMkLst>
        </pc:spChg>
        <pc:spChg chg="mod">
          <ac:chgData name="Chua Tony" userId="7deebee6-df33-46fc-9851-5225166dac4f" providerId="ADAL" clId="{EFE720D0-D4BC-4E6B-9F34-E01E06DCF76E}" dt="2023-04-27T06:25:33.361" v="817" actId="1037"/>
          <ac:spMkLst>
            <pc:docMk/>
            <pc:sldMk cId="133660185" sldId="906"/>
            <ac:spMk id="30" creationId="{00000000-0000-0000-0000-000000000000}"/>
          </ac:spMkLst>
        </pc:spChg>
        <pc:spChg chg="del">
          <ac:chgData name="Chua Tony" userId="7deebee6-df33-46fc-9851-5225166dac4f" providerId="ADAL" clId="{EFE720D0-D4BC-4E6B-9F34-E01E06DCF76E}" dt="2023-04-27T06:24:30.910" v="729" actId="478"/>
          <ac:spMkLst>
            <pc:docMk/>
            <pc:sldMk cId="133660185" sldId="906"/>
            <ac:spMk id="31" creationId="{00000000-0000-0000-0000-000000000000}"/>
          </ac:spMkLst>
        </pc:spChg>
        <pc:grpChg chg="del">
          <ac:chgData name="Chua Tony" userId="7deebee6-df33-46fc-9851-5225166dac4f" providerId="ADAL" clId="{EFE720D0-D4BC-4E6B-9F34-E01E06DCF76E}" dt="2023-04-27T06:24:27.029" v="725" actId="478"/>
          <ac:grpSpMkLst>
            <pc:docMk/>
            <pc:sldMk cId="133660185" sldId="906"/>
            <ac:grpSpMk id="19" creationId="{00000000-0000-0000-0000-000000000000}"/>
          </ac:grpSpMkLst>
        </pc:grpChg>
        <pc:picChg chg="mod">
          <ac:chgData name="Chua Tony" userId="7deebee6-df33-46fc-9851-5225166dac4f" providerId="ADAL" clId="{EFE720D0-D4BC-4E6B-9F34-E01E06DCF76E}" dt="2023-04-27T06:24:43.733" v="766" actId="1036"/>
          <ac:picMkLst>
            <pc:docMk/>
            <pc:sldMk cId="133660185" sldId="906"/>
            <ac:picMk id="15" creationId="{00000000-0000-0000-0000-000000000000}"/>
          </ac:picMkLst>
        </pc:picChg>
        <pc:picChg chg="del">
          <ac:chgData name="Chua Tony" userId="7deebee6-df33-46fc-9851-5225166dac4f" providerId="ADAL" clId="{EFE720D0-D4BC-4E6B-9F34-E01E06DCF76E}" dt="2023-04-27T06:24:29.093" v="727" actId="478"/>
          <ac:picMkLst>
            <pc:docMk/>
            <pc:sldMk cId="133660185" sldId="906"/>
            <ac:picMk id="24" creationId="{00000000-0000-0000-0000-000000000000}"/>
          </ac:picMkLst>
        </pc:picChg>
        <pc:cxnChg chg="del">
          <ac:chgData name="Chua Tony" userId="7deebee6-df33-46fc-9851-5225166dac4f" providerId="ADAL" clId="{EFE720D0-D4BC-4E6B-9F34-E01E06DCF76E}" dt="2023-04-27T06:24:30.206" v="728" actId="478"/>
          <ac:cxnSpMkLst>
            <pc:docMk/>
            <pc:sldMk cId="133660185" sldId="906"/>
            <ac:cxnSpMk id="27" creationId="{00000000-0000-0000-0000-000000000000}"/>
          </ac:cxnSpMkLst>
        </pc:cxnChg>
      </pc:sldChg>
      <pc:sldChg chg="addSp delSp modSp mod modClrScheme chgLayout">
        <pc:chgData name="Chua Tony" userId="7deebee6-df33-46fc-9851-5225166dac4f" providerId="ADAL" clId="{EFE720D0-D4BC-4E6B-9F34-E01E06DCF76E}" dt="2023-04-27T06:26:14.213" v="914" actId="1037"/>
        <pc:sldMkLst>
          <pc:docMk/>
          <pc:sldMk cId="3911629848" sldId="907"/>
        </pc:sldMkLst>
        <pc:spChg chg="add del mod ord">
          <ac:chgData name="Chua Tony" userId="7deebee6-df33-46fc-9851-5225166dac4f" providerId="ADAL" clId="{EFE720D0-D4BC-4E6B-9F34-E01E06DCF76E}" dt="2023-04-27T06:25:59.629" v="872" actId="478"/>
          <ac:spMkLst>
            <pc:docMk/>
            <pc:sldMk cId="3911629848" sldId="907"/>
            <ac:spMk id="2" creationId="{F61D4D40-0D52-60F1-EE8B-2561A61F2E69}"/>
          </ac:spMkLst>
        </pc:spChg>
        <pc:spChg chg="mod">
          <ac:chgData name="Chua Tony" userId="7deebee6-df33-46fc-9851-5225166dac4f" providerId="ADAL" clId="{EFE720D0-D4BC-4E6B-9F34-E01E06DCF76E}" dt="2023-04-27T06:26:14.213" v="914" actId="1037"/>
          <ac:spMkLst>
            <pc:docMk/>
            <pc:sldMk cId="3911629848" sldId="907"/>
            <ac:spMk id="14" creationId="{00000000-0000-0000-0000-000000000000}"/>
          </ac:spMkLst>
        </pc:spChg>
        <pc:spChg chg="del">
          <ac:chgData name="Chua Tony" userId="7deebee6-df33-46fc-9851-5225166dac4f" providerId="ADAL" clId="{EFE720D0-D4BC-4E6B-9F34-E01E06DCF76E}" dt="2023-04-27T06:25:42.077" v="819" actId="478"/>
          <ac:spMkLst>
            <pc:docMk/>
            <pc:sldMk cId="3911629848" sldId="907"/>
            <ac:spMk id="25" creationId="{00000000-0000-0000-0000-000000000000}"/>
          </ac:spMkLst>
        </pc:spChg>
        <pc:spChg chg="mod">
          <ac:chgData name="Chua Tony" userId="7deebee6-df33-46fc-9851-5225166dac4f" providerId="ADAL" clId="{EFE720D0-D4BC-4E6B-9F34-E01E06DCF76E}" dt="2023-04-27T06:25:56.877" v="871" actId="1038"/>
          <ac:spMkLst>
            <pc:docMk/>
            <pc:sldMk cId="3911629848" sldId="907"/>
            <ac:spMk id="30" creationId="{00000000-0000-0000-0000-000000000000}"/>
          </ac:spMkLst>
        </pc:spChg>
        <pc:spChg chg="del">
          <ac:chgData name="Chua Tony" userId="7deebee6-df33-46fc-9851-5225166dac4f" providerId="ADAL" clId="{EFE720D0-D4BC-4E6B-9F34-E01E06DCF76E}" dt="2023-04-27T06:25:44.909" v="821" actId="478"/>
          <ac:spMkLst>
            <pc:docMk/>
            <pc:sldMk cId="3911629848" sldId="907"/>
            <ac:spMk id="31" creationId="{00000000-0000-0000-0000-000000000000}"/>
          </ac:spMkLst>
        </pc:spChg>
        <pc:grpChg chg="del">
          <ac:chgData name="Chua Tony" userId="7deebee6-df33-46fc-9851-5225166dac4f" providerId="ADAL" clId="{EFE720D0-D4BC-4E6B-9F34-E01E06DCF76E}" dt="2023-04-27T06:25:48.261" v="822" actId="478"/>
          <ac:grpSpMkLst>
            <pc:docMk/>
            <pc:sldMk cId="3911629848" sldId="907"/>
            <ac:grpSpMk id="19" creationId="{00000000-0000-0000-0000-000000000000}"/>
          </ac:grpSpMkLst>
        </pc:grpChg>
        <pc:picChg chg="mod">
          <ac:chgData name="Chua Tony" userId="7deebee6-df33-46fc-9851-5225166dac4f" providerId="ADAL" clId="{EFE720D0-D4BC-4E6B-9F34-E01E06DCF76E}" dt="2023-04-27T06:26:07.471" v="876" actId="1038"/>
          <ac:picMkLst>
            <pc:docMk/>
            <pc:sldMk cId="3911629848" sldId="907"/>
            <ac:picMk id="15" creationId="{00000000-0000-0000-0000-000000000000}"/>
          </ac:picMkLst>
        </pc:picChg>
        <pc:picChg chg="del">
          <ac:chgData name="Chua Tony" userId="7deebee6-df33-46fc-9851-5225166dac4f" providerId="ADAL" clId="{EFE720D0-D4BC-4E6B-9F34-E01E06DCF76E}" dt="2023-04-27T06:25:42.701" v="820" actId="478"/>
          <ac:picMkLst>
            <pc:docMk/>
            <pc:sldMk cId="3911629848" sldId="907"/>
            <ac:picMk id="24" creationId="{00000000-0000-0000-0000-000000000000}"/>
          </ac:picMkLst>
        </pc:picChg>
        <pc:cxnChg chg="del">
          <ac:chgData name="Chua Tony" userId="7deebee6-df33-46fc-9851-5225166dac4f" providerId="ADAL" clId="{EFE720D0-D4BC-4E6B-9F34-E01E06DCF76E}" dt="2023-04-27T06:25:41.365" v="818" actId="478"/>
          <ac:cxnSpMkLst>
            <pc:docMk/>
            <pc:sldMk cId="3911629848" sldId="907"/>
            <ac:cxnSpMk id="27" creationId="{00000000-0000-0000-0000-000000000000}"/>
          </ac:cxnSpMkLst>
        </pc:cxnChg>
      </pc:sldChg>
      <pc:sldChg chg="addSp delSp modSp mod modClrScheme chgLayout">
        <pc:chgData name="Chua Tony" userId="7deebee6-df33-46fc-9851-5225166dac4f" providerId="ADAL" clId="{EFE720D0-D4BC-4E6B-9F34-E01E06DCF76E}" dt="2023-04-27T06:27:01.453" v="1018" actId="1037"/>
        <pc:sldMkLst>
          <pc:docMk/>
          <pc:sldMk cId="1457250862" sldId="908"/>
        </pc:sldMkLst>
        <pc:spChg chg="add del mod ord">
          <ac:chgData name="Chua Tony" userId="7deebee6-df33-46fc-9851-5225166dac4f" providerId="ADAL" clId="{EFE720D0-D4BC-4E6B-9F34-E01E06DCF76E}" dt="2023-04-27T06:26:25.677" v="915" actId="478"/>
          <ac:spMkLst>
            <pc:docMk/>
            <pc:sldMk cId="1457250862" sldId="908"/>
            <ac:spMk id="2" creationId="{1208D3D5-1EC8-76B9-CEE2-8F5C34853933}"/>
          </ac:spMkLst>
        </pc:spChg>
        <pc:spChg chg="mod">
          <ac:chgData name="Chua Tony" userId="7deebee6-df33-46fc-9851-5225166dac4f" providerId="ADAL" clId="{EFE720D0-D4BC-4E6B-9F34-E01E06DCF76E}" dt="2023-04-27T06:26:50.476" v="1000" actId="1037"/>
          <ac:spMkLst>
            <pc:docMk/>
            <pc:sldMk cId="1457250862" sldId="908"/>
            <ac:spMk id="14" creationId="{00000000-0000-0000-0000-000000000000}"/>
          </ac:spMkLst>
        </pc:spChg>
        <pc:spChg chg="del">
          <ac:chgData name="Chua Tony" userId="7deebee6-df33-46fc-9851-5225166dac4f" providerId="ADAL" clId="{EFE720D0-D4BC-4E6B-9F34-E01E06DCF76E}" dt="2023-04-27T06:26:29.076" v="917" actId="478"/>
          <ac:spMkLst>
            <pc:docMk/>
            <pc:sldMk cId="1457250862" sldId="908"/>
            <ac:spMk id="25" creationId="{00000000-0000-0000-0000-000000000000}"/>
          </ac:spMkLst>
        </pc:spChg>
        <pc:spChg chg="mod">
          <ac:chgData name="Chua Tony" userId="7deebee6-df33-46fc-9851-5225166dac4f" providerId="ADAL" clId="{EFE720D0-D4BC-4E6B-9F34-E01E06DCF76E}" dt="2023-04-27T06:26:42.916" v="975" actId="1038"/>
          <ac:spMkLst>
            <pc:docMk/>
            <pc:sldMk cId="1457250862" sldId="908"/>
            <ac:spMk id="30" creationId="{00000000-0000-0000-0000-000000000000}"/>
          </ac:spMkLst>
        </pc:spChg>
        <pc:spChg chg="del">
          <ac:chgData name="Chua Tony" userId="7deebee6-df33-46fc-9851-5225166dac4f" providerId="ADAL" clId="{EFE720D0-D4BC-4E6B-9F34-E01E06DCF76E}" dt="2023-04-27T06:26:31.101" v="919" actId="478"/>
          <ac:spMkLst>
            <pc:docMk/>
            <pc:sldMk cId="1457250862" sldId="908"/>
            <ac:spMk id="31" creationId="{00000000-0000-0000-0000-000000000000}"/>
          </ac:spMkLst>
        </pc:spChg>
        <pc:grpChg chg="del">
          <ac:chgData name="Chua Tony" userId="7deebee6-df33-46fc-9851-5225166dac4f" providerId="ADAL" clId="{EFE720D0-D4BC-4E6B-9F34-E01E06DCF76E}" dt="2023-04-27T06:26:34.405" v="921" actId="478"/>
          <ac:grpSpMkLst>
            <pc:docMk/>
            <pc:sldMk cId="1457250862" sldId="908"/>
            <ac:grpSpMk id="19" creationId="{00000000-0000-0000-0000-000000000000}"/>
          </ac:grpSpMkLst>
        </pc:grpChg>
        <pc:picChg chg="mod">
          <ac:chgData name="Chua Tony" userId="7deebee6-df33-46fc-9851-5225166dac4f" providerId="ADAL" clId="{EFE720D0-D4BC-4E6B-9F34-E01E06DCF76E}" dt="2023-04-27T06:27:01.453" v="1018" actId="1037"/>
          <ac:picMkLst>
            <pc:docMk/>
            <pc:sldMk cId="1457250862" sldId="908"/>
            <ac:picMk id="15" creationId="{00000000-0000-0000-0000-000000000000}"/>
          </ac:picMkLst>
        </pc:picChg>
        <pc:picChg chg="del">
          <ac:chgData name="Chua Tony" userId="7deebee6-df33-46fc-9851-5225166dac4f" providerId="ADAL" clId="{EFE720D0-D4BC-4E6B-9F34-E01E06DCF76E}" dt="2023-04-27T06:26:30.189" v="918" actId="478"/>
          <ac:picMkLst>
            <pc:docMk/>
            <pc:sldMk cId="1457250862" sldId="908"/>
            <ac:picMk id="24" creationId="{00000000-0000-0000-0000-000000000000}"/>
          </ac:picMkLst>
        </pc:picChg>
        <pc:cxnChg chg="del">
          <ac:chgData name="Chua Tony" userId="7deebee6-df33-46fc-9851-5225166dac4f" providerId="ADAL" clId="{EFE720D0-D4BC-4E6B-9F34-E01E06DCF76E}" dt="2023-04-27T06:26:28.341" v="916" actId="478"/>
          <ac:cxnSpMkLst>
            <pc:docMk/>
            <pc:sldMk cId="1457250862" sldId="908"/>
            <ac:cxnSpMk id="27" creationId="{00000000-0000-0000-0000-000000000000}"/>
          </ac:cxnSpMkLst>
        </pc:cxnChg>
      </pc:sldChg>
      <pc:sldChg chg="addSp delSp modSp mod modClrScheme chgLayout">
        <pc:chgData name="Chua Tony" userId="7deebee6-df33-46fc-9851-5225166dac4f" providerId="ADAL" clId="{EFE720D0-D4BC-4E6B-9F34-E01E06DCF76E}" dt="2023-04-27T07:35:03.140" v="1139" actId="1038"/>
        <pc:sldMkLst>
          <pc:docMk/>
          <pc:sldMk cId="842185080" sldId="909"/>
        </pc:sldMkLst>
        <pc:spChg chg="add del mod ord">
          <ac:chgData name="Chua Tony" userId="7deebee6-df33-46fc-9851-5225166dac4f" providerId="ADAL" clId="{EFE720D0-D4BC-4E6B-9F34-E01E06DCF76E}" dt="2023-04-27T06:27:21.332" v="1023" actId="478"/>
          <ac:spMkLst>
            <pc:docMk/>
            <pc:sldMk cId="842185080" sldId="909"/>
            <ac:spMk id="2" creationId="{08E8A2E1-9385-8807-B013-E8BDEDE485B4}"/>
          </ac:spMkLst>
        </pc:spChg>
        <pc:spChg chg="del">
          <ac:chgData name="Chua Tony" userId="7deebee6-df33-46fc-9851-5225166dac4f" providerId="ADAL" clId="{EFE720D0-D4BC-4E6B-9F34-E01E06DCF76E}" dt="2023-04-27T06:27:12.693" v="1019" actId="478"/>
          <ac:spMkLst>
            <pc:docMk/>
            <pc:sldMk cId="842185080" sldId="909"/>
            <ac:spMk id="25" creationId="{00000000-0000-0000-0000-000000000000}"/>
          </ac:spMkLst>
        </pc:spChg>
        <pc:spChg chg="mod">
          <ac:chgData name="Chua Tony" userId="7deebee6-df33-46fc-9851-5225166dac4f" providerId="ADAL" clId="{EFE720D0-D4BC-4E6B-9F34-E01E06DCF76E}" dt="2023-04-27T06:27:35.437" v="1083" actId="1037"/>
          <ac:spMkLst>
            <pc:docMk/>
            <pc:sldMk cId="842185080" sldId="909"/>
            <ac:spMk id="30" creationId="{00000000-0000-0000-0000-000000000000}"/>
          </ac:spMkLst>
        </pc:spChg>
        <pc:spChg chg="del">
          <ac:chgData name="Chua Tony" userId="7deebee6-df33-46fc-9851-5225166dac4f" providerId="ADAL" clId="{EFE720D0-D4BC-4E6B-9F34-E01E06DCF76E}" dt="2023-04-27T06:27:18.205" v="1022" actId="478"/>
          <ac:spMkLst>
            <pc:docMk/>
            <pc:sldMk cId="842185080" sldId="909"/>
            <ac:spMk id="31" creationId="{00000000-0000-0000-0000-000000000000}"/>
          </ac:spMkLst>
        </pc:spChg>
        <pc:grpChg chg="del">
          <ac:chgData name="Chua Tony" userId="7deebee6-df33-46fc-9851-5225166dac4f" providerId="ADAL" clId="{EFE720D0-D4BC-4E6B-9F34-E01E06DCF76E}" dt="2023-04-27T06:27:24.500" v="1024" actId="478"/>
          <ac:grpSpMkLst>
            <pc:docMk/>
            <pc:sldMk cId="842185080" sldId="909"/>
            <ac:grpSpMk id="19" creationId="{00000000-0000-0000-0000-000000000000}"/>
          </ac:grpSpMkLst>
        </pc:grpChg>
        <pc:picChg chg="mod">
          <ac:chgData name="Chua Tony" userId="7deebee6-df33-46fc-9851-5225166dac4f" providerId="ADAL" clId="{EFE720D0-D4BC-4E6B-9F34-E01E06DCF76E}" dt="2023-04-27T07:35:03.140" v="1139" actId="1038"/>
          <ac:picMkLst>
            <pc:docMk/>
            <pc:sldMk cId="842185080" sldId="909"/>
            <ac:picMk id="15" creationId="{00000000-0000-0000-0000-000000000000}"/>
          </ac:picMkLst>
        </pc:picChg>
        <pc:picChg chg="add del mod">
          <ac:chgData name="Chua Tony" userId="7deebee6-df33-46fc-9851-5225166dac4f" providerId="ADAL" clId="{EFE720D0-D4BC-4E6B-9F34-E01E06DCF76E}" dt="2023-04-27T07:35:03.140" v="1139" actId="1038"/>
          <ac:picMkLst>
            <pc:docMk/>
            <pc:sldMk cId="842185080" sldId="909"/>
            <ac:picMk id="17" creationId="{00000000-0000-0000-0000-000000000000}"/>
          </ac:picMkLst>
        </pc:picChg>
        <pc:picChg chg="mod">
          <ac:chgData name="Chua Tony" userId="7deebee6-df33-46fc-9851-5225166dac4f" providerId="ADAL" clId="{EFE720D0-D4BC-4E6B-9F34-E01E06DCF76E}" dt="2023-04-27T07:35:03.140" v="1139" actId="1038"/>
          <ac:picMkLst>
            <pc:docMk/>
            <pc:sldMk cId="842185080" sldId="909"/>
            <ac:picMk id="18" creationId="{00000000-0000-0000-0000-000000000000}"/>
          </ac:picMkLst>
        </pc:picChg>
        <pc:picChg chg="del">
          <ac:chgData name="Chua Tony" userId="7deebee6-df33-46fc-9851-5225166dac4f" providerId="ADAL" clId="{EFE720D0-D4BC-4E6B-9F34-E01E06DCF76E}" dt="2023-04-27T06:27:13.628" v="1020" actId="478"/>
          <ac:picMkLst>
            <pc:docMk/>
            <pc:sldMk cId="842185080" sldId="909"/>
            <ac:picMk id="24" creationId="{00000000-0000-0000-0000-000000000000}"/>
          </ac:picMkLst>
        </pc:picChg>
        <pc:picChg chg="mod">
          <ac:chgData name="Chua Tony" userId="7deebee6-df33-46fc-9851-5225166dac4f" providerId="ADAL" clId="{EFE720D0-D4BC-4E6B-9F34-E01E06DCF76E}" dt="2023-04-27T07:35:03.140" v="1139" actId="1038"/>
          <ac:picMkLst>
            <pc:docMk/>
            <pc:sldMk cId="842185080" sldId="909"/>
            <ac:picMk id="26" creationId="{00000000-0000-0000-0000-000000000000}"/>
          </ac:picMkLst>
        </pc:picChg>
        <pc:cxnChg chg="del">
          <ac:chgData name="Chua Tony" userId="7deebee6-df33-46fc-9851-5225166dac4f" providerId="ADAL" clId="{EFE720D0-D4BC-4E6B-9F34-E01E06DCF76E}" dt="2023-04-27T06:27:15.524" v="1021" actId="478"/>
          <ac:cxnSpMkLst>
            <pc:docMk/>
            <pc:sldMk cId="842185080" sldId="909"/>
            <ac:cxnSpMk id="27" creationId="{00000000-0000-0000-0000-000000000000}"/>
          </ac:cxnSpMkLst>
        </pc:cxnChg>
      </pc:sldChg>
      <pc:sldChg chg="del">
        <pc:chgData name="Chua Tony" userId="7deebee6-df33-46fc-9851-5225166dac4f" providerId="ADAL" clId="{EFE720D0-D4BC-4E6B-9F34-E01E06DCF76E}" dt="2023-04-27T07:53:13.264" v="1372" actId="47"/>
        <pc:sldMkLst>
          <pc:docMk/>
          <pc:sldMk cId="1935589255" sldId="911"/>
        </pc:sldMkLst>
      </pc:sldChg>
      <pc:sldChg chg="addSp delSp modSp mod modClrScheme chgLayout">
        <pc:chgData name="Chua Tony" userId="7deebee6-df33-46fc-9851-5225166dac4f" providerId="ADAL" clId="{EFE720D0-D4BC-4E6B-9F34-E01E06DCF76E}" dt="2023-04-27T03:05:05.860" v="19" actId="478"/>
        <pc:sldMkLst>
          <pc:docMk/>
          <pc:sldMk cId="3731073221" sldId="912"/>
        </pc:sldMkLst>
        <pc:spChg chg="add del mod ord">
          <ac:chgData name="Chua Tony" userId="7deebee6-df33-46fc-9851-5225166dac4f" providerId="ADAL" clId="{EFE720D0-D4BC-4E6B-9F34-E01E06DCF76E}" dt="2023-04-27T03:04:57.400" v="16" actId="700"/>
          <ac:spMkLst>
            <pc:docMk/>
            <pc:sldMk cId="3731073221" sldId="912"/>
            <ac:spMk id="2" creationId="{109F15DB-92E0-A197-B31A-46502D3FC5D4}"/>
          </ac:spMkLst>
        </pc:spChg>
        <pc:spChg chg="add del mod ord">
          <ac:chgData name="Chua Tony" userId="7deebee6-df33-46fc-9851-5225166dac4f" providerId="ADAL" clId="{EFE720D0-D4BC-4E6B-9F34-E01E06DCF76E}" dt="2023-04-27T03:05:05.860" v="19" actId="478"/>
          <ac:spMkLst>
            <pc:docMk/>
            <pc:sldMk cId="3731073221" sldId="912"/>
            <ac:spMk id="3" creationId="{95409D2A-543D-2C1B-F423-7F955607EC76}"/>
          </ac:spMkLst>
        </pc:spChg>
        <pc:spChg chg="del">
          <ac:chgData name="Chua Tony" userId="7deebee6-df33-46fc-9851-5225166dac4f" providerId="ADAL" clId="{EFE720D0-D4BC-4E6B-9F34-E01E06DCF76E}" dt="2023-04-27T03:05:00.353" v="17" actId="478"/>
          <ac:spMkLst>
            <pc:docMk/>
            <pc:sldMk cId="3731073221" sldId="912"/>
            <ac:spMk id="6" creationId="{00000000-0000-0000-0000-000000000000}"/>
          </ac:spMkLst>
        </pc:spChg>
        <pc:spChg chg="del">
          <ac:chgData name="Chua Tony" userId="7deebee6-df33-46fc-9851-5225166dac4f" providerId="ADAL" clId="{EFE720D0-D4BC-4E6B-9F34-E01E06DCF76E}" dt="2023-04-27T03:05:02.228" v="18" actId="478"/>
          <ac:spMkLst>
            <pc:docMk/>
            <pc:sldMk cId="3731073221" sldId="912"/>
            <ac:spMk id="14" creationId="{00000000-0000-0000-0000-000000000000}"/>
          </ac:spMkLst>
        </pc:spChg>
      </pc:sldChg>
      <pc:sldChg chg="addSp delSp modSp mod modClrScheme chgLayout">
        <pc:chgData name="Chua Tony" userId="7deebee6-df33-46fc-9851-5225166dac4f" providerId="ADAL" clId="{EFE720D0-D4BC-4E6B-9F34-E01E06DCF76E}" dt="2023-04-27T06:15:50.827" v="261" actId="1037"/>
        <pc:sldMkLst>
          <pc:docMk/>
          <pc:sldMk cId="1514426697" sldId="913"/>
        </pc:sldMkLst>
        <pc:spChg chg="add del mod ord">
          <ac:chgData name="Chua Tony" userId="7deebee6-df33-46fc-9851-5225166dac4f" providerId="ADAL" clId="{EFE720D0-D4BC-4E6B-9F34-E01E06DCF76E}" dt="2023-04-27T06:15:27.763" v="182" actId="478"/>
          <ac:spMkLst>
            <pc:docMk/>
            <pc:sldMk cId="1514426697" sldId="913"/>
            <ac:spMk id="2" creationId="{5CCB1489-FB73-7854-3287-55BE56F8A7A5}"/>
          </ac:spMkLst>
        </pc:spChg>
        <pc:spChg chg="del">
          <ac:chgData name="Chua Tony" userId="7deebee6-df33-46fc-9851-5225166dac4f" providerId="ADAL" clId="{EFE720D0-D4BC-4E6B-9F34-E01E06DCF76E}" dt="2023-04-27T06:15:35.563" v="185" actId="478"/>
          <ac:spMkLst>
            <pc:docMk/>
            <pc:sldMk cId="1514426697" sldId="913"/>
            <ac:spMk id="25" creationId="{00000000-0000-0000-0000-000000000000}"/>
          </ac:spMkLst>
        </pc:spChg>
        <pc:spChg chg="mod">
          <ac:chgData name="Chua Tony" userId="7deebee6-df33-46fc-9851-5225166dac4f" providerId="ADAL" clId="{EFE720D0-D4BC-4E6B-9F34-E01E06DCF76E}" dt="2023-04-27T06:15:50.827" v="261" actId="1037"/>
          <ac:spMkLst>
            <pc:docMk/>
            <pc:sldMk cId="1514426697" sldId="913"/>
            <ac:spMk id="30" creationId="{00000000-0000-0000-0000-000000000000}"/>
          </ac:spMkLst>
        </pc:spChg>
        <pc:spChg chg="del">
          <ac:chgData name="Chua Tony" userId="7deebee6-df33-46fc-9851-5225166dac4f" providerId="ADAL" clId="{EFE720D0-D4BC-4E6B-9F34-E01E06DCF76E}" dt="2023-04-27T06:15:35.563" v="185" actId="478"/>
          <ac:spMkLst>
            <pc:docMk/>
            <pc:sldMk cId="1514426697" sldId="913"/>
            <ac:spMk id="31" creationId="{00000000-0000-0000-0000-000000000000}"/>
          </ac:spMkLst>
        </pc:spChg>
        <pc:grpChg chg="del">
          <ac:chgData name="Chua Tony" userId="7deebee6-df33-46fc-9851-5225166dac4f" providerId="ADAL" clId="{EFE720D0-D4BC-4E6B-9F34-E01E06DCF76E}" dt="2023-04-27T06:15:30.403" v="183" actId="478"/>
          <ac:grpSpMkLst>
            <pc:docMk/>
            <pc:sldMk cId="1514426697" sldId="913"/>
            <ac:grpSpMk id="19" creationId="{00000000-0000-0000-0000-000000000000}"/>
          </ac:grpSpMkLst>
        </pc:grpChg>
        <pc:picChg chg="del">
          <ac:chgData name="Chua Tony" userId="7deebee6-df33-46fc-9851-5225166dac4f" providerId="ADAL" clId="{EFE720D0-D4BC-4E6B-9F34-E01E06DCF76E}" dt="2023-04-27T06:15:37.099" v="186" actId="478"/>
          <ac:picMkLst>
            <pc:docMk/>
            <pc:sldMk cId="1514426697" sldId="913"/>
            <ac:picMk id="24" creationId="{00000000-0000-0000-0000-000000000000}"/>
          </ac:picMkLst>
        </pc:picChg>
        <pc:cxnChg chg="del mod">
          <ac:chgData name="Chua Tony" userId="7deebee6-df33-46fc-9851-5225166dac4f" providerId="ADAL" clId="{EFE720D0-D4BC-4E6B-9F34-E01E06DCF76E}" dt="2023-04-27T06:15:35.563" v="185" actId="478"/>
          <ac:cxnSpMkLst>
            <pc:docMk/>
            <pc:sldMk cId="1514426697" sldId="913"/>
            <ac:cxnSpMk id="27" creationId="{00000000-0000-0000-0000-000000000000}"/>
          </ac:cxnSpMkLst>
        </pc:cxnChg>
      </pc:sldChg>
      <pc:sldChg chg="addSp delSp modSp mod modClrScheme chgLayout">
        <pc:chgData name="Chua Tony" userId="7deebee6-df33-46fc-9851-5225166dac4f" providerId="ADAL" clId="{EFE720D0-D4BC-4E6B-9F34-E01E06DCF76E}" dt="2023-04-27T07:53:00.587" v="1371"/>
        <pc:sldMkLst>
          <pc:docMk/>
          <pc:sldMk cId="2157750038" sldId="914"/>
        </pc:sldMkLst>
        <pc:spChg chg="add del mod ord">
          <ac:chgData name="Chua Tony" userId="7deebee6-df33-46fc-9851-5225166dac4f" providerId="ADAL" clId="{EFE720D0-D4BC-4E6B-9F34-E01E06DCF76E}" dt="2023-04-27T07:35:14.373" v="1140" actId="478"/>
          <ac:spMkLst>
            <pc:docMk/>
            <pc:sldMk cId="2157750038" sldId="914"/>
            <ac:spMk id="2" creationId="{16C8FB6C-58E2-10D1-2012-A73C4A192565}"/>
          </ac:spMkLst>
        </pc:spChg>
        <pc:spChg chg="mod">
          <ac:chgData name="Chua Tony" userId="7deebee6-df33-46fc-9851-5225166dac4f" providerId="ADAL" clId="{EFE720D0-D4BC-4E6B-9F34-E01E06DCF76E}" dt="2023-04-27T07:48:40.560" v="1248" actId="6549"/>
          <ac:spMkLst>
            <pc:docMk/>
            <pc:sldMk cId="2157750038" sldId="914"/>
            <ac:spMk id="14" creationId="{00000000-0000-0000-0000-000000000000}"/>
          </ac:spMkLst>
        </pc:spChg>
        <pc:spChg chg="del">
          <ac:chgData name="Chua Tony" userId="7deebee6-df33-46fc-9851-5225166dac4f" providerId="ADAL" clId="{EFE720D0-D4BC-4E6B-9F34-E01E06DCF76E}" dt="2023-04-27T07:35:15.668" v="1141" actId="478"/>
          <ac:spMkLst>
            <pc:docMk/>
            <pc:sldMk cId="2157750038" sldId="914"/>
            <ac:spMk id="25" creationId="{00000000-0000-0000-0000-000000000000}"/>
          </ac:spMkLst>
        </pc:spChg>
        <pc:spChg chg="mod">
          <ac:chgData name="Chua Tony" userId="7deebee6-df33-46fc-9851-5225166dac4f" providerId="ADAL" clId="{EFE720D0-D4BC-4E6B-9F34-E01E06DCF76E}" dt="2023-04-27T07:35:31.678" v="1210" actId="1037"/>
          <ac:spMkLst>
            <pc:docMk/>
            <pc:sldMk cId="2157750038" sldId="914"/>
            <ac:spMk id="30" creationId="{00000000-0000-0000-0000-000000000000}"/>
          </ac:spMkLst>
        </pc:spChg>
        <pc:spChg chg="del mod">
          <ac:chgData name="Chua Tony" userId="7deebee6-df33-46fc-9851-5225166dac4f" providerId="ADAL" clId="{EFE720D0-D4BC-4E6B-9F34-E01E06DCF76E}" dt="2023-04-27T07:35:19.654" v="1144" actId="478"/>
          <ac:spMkLst>
            <pc:docMk/>
            <pc:sldMk cId="2157750038" sldId="914"/>
            <ac:spMk id="31" creationId="{00000000-0000-0000-0000-000000000000}"/>
          </ac:spMkLst>
        </pc:spChg>
        <pc:grpChg chg="del">
          <ac:chgData name="Chua Tony" userId="7deebee6-df33-46fc-9851-5225166dac4f" providerId="ADAL" clId="{EFE720D0-D4BC-4E6B-9F34-E01E06DCF76E}" dt="2023-04-27T07:35:22.022" v="1146" actId="478"/>
          <ac:grpSpMkLst>
            <pc:docMk/>
            <pc:sldMk cId="2157750038" sldId="914"/>
            <ac:grpSpMk id="19" creationId="{00000000-0000-0000-0000-000000000000}"/>
          </ac:grpSpMkLst>
        </pc:grpChg>
        <pc:picChg chg="del">
          <ac:chgData name="Chua Tony" userId="7deebee6-df33-46fc-9851-5225166dac4f" providerId="ADAL" clId="{EFE720D0-D4BC-4E6B-9F34-E01E06DCF76E}" dt="2023-04-27T07:45:09.581" v="1211" actId="478"/>
          <ac:picMkLst>
            <pc:docMk/>
            <pc:sldMk cId="2157750038" sldId="914"/>
            <ac:picMk id="3" creationId="{00000000-0000-0000-0000-000000000000}"/>
          </ac:picMkLst>
        </pc:picChg>
        <pc:picChg chg="add mod">
          <ac:chgData name="Chua Tony" userId="7deebee6-df33-46fc-9851-5225166dac4f" providerId="ADAL" clId="{EFE720D0-D4BC-4E6B-9F34-E01E06DCF76E}" dt="2023-04-27T07:46:04.009" v="1216" actId="14100"/>
          <ac:picMkLst>
            <pc:docMk/>
            <pc:sldMk cId="2157750038" sldId="914"/>
            <ac:picMk id="5" creationId="{CB2F0D9E-ABAD-649A-D8B3-5AE2953B53DD}"/>
          </ac:picMkLst>
        </pc:picChg>
        <pc:picChg chg="del">
          <ac:chgData name="Chua Tony" userId="7deebee6-df33-46fc-9851-5225166dac4f" providerId="ADAL" clId="{EFE720D0-D4BC-4E6B-9F34-E01E06DCF76E}" dt="2023-04-27T07:53:00.587" v="1371"/>
          <ac:picMkLst>
            <pc:docMk/>
            <pc:sldMk cId="2157750038" sldId="914"/>
            <ac:picMk id="7" creationId="{4FE64427-42E0-6E33-B9DA-CDF1D247D124}"/>
          </ac:picMkLst>
        </pc:picChg>
        <pc:picChg chg="del">
          <ac:chgData name="Chua Tony" userId="7deebee6-df33-46fc-9851-5225166dac4f" providerId="ADAL" clId="{EFE720D0-D4BC-4E6B-9F34-E01E06DCF76E}" dt="2023-04-27T07:35:16.669" v="1142" actId="478"/>
          <ac:picMkLst>
            <pc:docMk/>
            <pc:sldMk cId="2157750038" sldId="914"/>
            <ac:picMk id="24" creationId="{00000000-0000-0000-0000-000000000000}"/>
          </ac:picMkLst>
        </pc:picChg>
        <pc:cxnChg chg="del">
          <ac:chgData name="Chua Tony" userId="7deebee6-df33-46fc-9851-5225166dac4f" providerId="ADAL" clId="{EFE720D0-D4BC-4E6B-9F34-E01E06DCF76E}" dt="2023-04-27T07:35:20.790" v="1145" actId="478"/>
          <ac:cxnSpMkLst>
            <pc:docMk/>
            <pc:sldMk cId="2157750038" sldId="914"/>
            <ac:cxnSpMk id="27" creationId="{00000000-0000-0000-0000-000000000000}"/>
          </ac:cxnSpMkLst>
        </pc:cxnChg>
      </pc:sldChg>
      <pc:sldChg chg="addSp delSp modSp del mod modClrScheme chgLayout">
        <pc:chgData name="Chua Tony" userId="7deebee6-df33-46fc-9851-5225166dac4f" providerId="ADAL" clId="{EFE720D0-D4BC-4E6B-9F34-E01E06DCF76E}" dt="2023-04-27T07:50:37.043" v="1369" actId="2696"/>
        <pc:sldMkLst>
          <pc:docMk/>
          <pc:sldMk cId="2104785188" sldId="915"/>
        </pc:sldMkLst>
        <pc:spChg chg="add del mod ord">
          <ac:chgData name="Chua Tony" userId="7deebee6-df33-46fc-9851-5225166dac4f" providerId="ADAL" clId="{EFE720D0-D4BC-4E6B-9F34-E01E06DCF76E}" dt="2023-04-27T07:48:48.182" v="1249" actId="478"/>
          <ac:spMkLst>
            <pc:docMk/>
            <pc:sldMk cId="2104785188" sldId="915"/>
            <ac:spMk id="2" creationId="{23DCF397-0A14-7B94-B58B-F01FBA23C0F3}"/>
          </ac:spMkLst>
        </pc:spChg>
        <pc:spChg chg="mod">
          <ac:chgData name="Chua Tony" userId="7deebee6-df33-46fc-9851-5225166dac4f" providerId="ADAL" clId="{EFE720D0-D4BC-4E6B-9F34-E01E06DCF76E}" dt="2023-04-27T07:49:37.359" v="1305" actId="1038"/>
          <ac:spMkLst>
            <pc:docMk/>
            <pc:sldMk cId="2104785188" sldId="915"/>
            <ac:spMk id="14" creationId="{00000000-0000-0000-0000-000000000000}"/>
          </ac:spMkLst>
        </pc:spChg>
        <pc:spChg chg="del">
          <ac:chgData name="Chua Tony" userId="7deebee6-df33-46fc-9851-5225166dac4f" providerId="ADAL" clId="{EFE720D0-D4BC-4E6B-9F34-E01E06DCF76E}" dt="2023-04-27T07:48:53.120" v="1251" actId="478"/>
          <ac:spMkLst>
            <pc:docMk/>
            <pc:sldMk cId="2104785188" sldId="915"/>
            <ac:spMk id="25" creationId="{00000000-0000-0000-0000-000000000000}"/>
          </ac:spMkLst>
        </pc:spChg>
        <pc:spChg chg="mod">
          <ac:chgData name="Chua Tony" userId="7deebee6-df33-46fc-9851-5225166dac4f" providerId="ADAL" clId="{EFE720D0-D4BC-4E6B-9F34-E01E06DCF76E}" dt="2023-04-27T07:49:45.533" v="1368" actId="1037"/>
          <ac:spMkLst>
            <pc:docMk/>
            <pc:sldMk cId="2104785188" sldId="915"/>
            <ac:spMk id="30" creationId="{00000000-0000-0000-0000-000000000000}"/>
          </ac:spMkLst>
        </pc:spChg>
        <pc:spChg chg="del">
          <ac:chgData name="Chua Tony" userId="7deebee6-df33-46fc-9851-5225166dac4f" providerId="ADAL" clId="{EFE720D0-D4BC-4E6B-9F34-E01E06DCF76E}" dt="2023-04-27T07:48:55.542" v="1252" actId="478"/>
          <ac:spMkLst>
            <pc:docMk/>
            <pc:sldMk cId="2104785188" sldId="915"/>
            <ac:spMk id="31" creationId="{00000000-0000-0000-0000-000000000000}"/>
          </ac:spMkLst>
        </pc:spChg>
        <pc:grpChg chg="del">
          <ac:chgData name="Chua Tony" userId="7deebee6-df33-46fc-9851-5225166dac4f" providerId="ADAL" clId="{EFE720D0-D4BC-4E6B-9F34-E01E06DCF76E}" dt="2023-04-27T07:48:51.099" v="1250" actId="478"/>
          <ac:grpSpMkLst>
            <pc:docMk/>
            <pc:sldMk cId="2104785188" sldId="915"/>
            <ac:grpSpMk id="19" creationId="{00000000-0000-0000-0000-000000000000}"/>
          </ac:grpSpMkLst>
        </pc:grpChg>
        <pc:picChg chg="add del mod">
          <ac:chgData name="Chua Tony" userId="7deebee6-df33-46fc-9851-5225166dac4f" providerId="ADAL" clId="{EFE720D0-D4BC-4E6B-9F34-E01E06DCF76E}" dt="2023-04-27T07:49:33.343" v="1291" actId="1038"/>
          <ac:picMkLst>
            <pc:docMk/>
            <pc:sldMk cId="2104785188" sldId="915"/>
            <ac:picMk id="15" creationId="{00000000-0000-0000-0000-000000000000}"/>
          </ac:picMkLst>
        </pc:picChg>
        <pc:picChg chg="del">
          <ac:chgData name="Chua Tony" userId="7deebee6-df33-46fc-9851-5225166dac4f" providerId="ADAL" clId="{EFE720D0-D4BC-4E6B-9F34-E01E06DCF76E}" dt="2023-04-27T07:49:00.115" v="1255" actId="478"/>
          <ac:picMkLst>
            <pc:docMk/>
            <pc:sldMk cId="2104785188" sldId="915"/>
            <ac:picMk id="24" creationId="{00000000-0000-0000-0000-000000000000}"/>
          </ac:picMkLst>
        </pc:picChg>
        <pc:cxnChg chg="del">
          <ac:chgData name="Chua Tony" userId="7deebee6-df33-46fc-9851-5225166dac4f" providerId="ADAL" clId="{EFE720D0-D4BC-4E6B-9F34-E01E06DCF76E}" dt="2023-04-27T07:49:04.909" v="1258" actId="478"/>
          <ac:cxnSpMkLst>
            <pc:docMk/>
            <pc:sldMk cId="2104785188" sldId="915"/>
            <ac:cxnSpMk id="27" creationId="{00000000-0000-0000-0000-000000000000}"/>
          </ac:cxnSpMkLst>
        </pc:cxnChg>
      </pc:sldChg>
      <pc:sldMasterChg chg="delSldLayout">
        <pc:chgData name="Chua Tony" userId="7deebee6-df33-46fc-9851-5225166dac4f" providerId="ADAL" clId="{EFE720D0-D4BC-4E6B-9F34-E01E06DCF76E}" dt="2023-04-27T07:53:13.264" v="1372" actId="47"/>
        <pc:sldMasterMkLst>
          <pc:docMk/>
          <pc:sldMasterMk cId="2662124523" sldId="2147483762"/>
        </pc:sldMasterMkLst>
        <pc:sldLayoutChg chg="del">
          <pc:chgData name="Chua Tony" userId="7deebee6-df33-46fc-9851-5225166dac4f" providerId="ADAL" clId="{EFE720D0-D4BC-4E6B-9F34-E01E06DCF76E}" dt="2023-04-27T07:53:13.264" v="1372" actId="47"/>
          <pc:sldLayoutMkLst>
            <pc:docMk/>
            <pc:sldMasterMk cId="2662124523" sldId="2147483762"/>
            <pc:sldLayoutMk cId="3566897630" sldId="2147483911"/>
          </pc:sldLayoutMkLst>
        </pc:sldLayoutChg>
      </pc:sldMasterChg>
      <pc:sldMasterChg chg="delSldLayout">
        <pc:chgData name="Chua Tony" userId="7deebee6-df33-46fc-9851-5225166dac4f" providerId="ADAL" clId="{EFE720D0-D4BC-4E6B-9F34-E01E06DCF76E}" dt="2023-04-27T07:53:41.035" v="1373" actId="2696"/>
        <pc:sldMasterMkLst>
          <pc:docMk/>
          <pc:sldMasterMk cId="101865581" sldId="2147483889"/>
        </pc:sldMasterMkLst>
        <pc:sldLayoutChg chg="del">
          <pc:chgData name="Chua Tony" userId="7deebee6-df33-46fc-9851-5225166dac4f" providerId="ADAL" clId="{EFE720D0-D4BC-4E6B-9F34-E01E06DCF76E}" dt="2023-04-27T07:53:41.035" v="1373" actId="2696"/>
          <pc:sldLayoutMkLst>
            <pc:docMk/>
            <pc:sldMasterMk cId="101865581" sldId="2147483889"/>
            <pc:sldLayoutMk cId="3711629082" sldId="214748391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650" cy="466725"/>
          </a:xfrm>
          <a:prstGeom prst="rect">
            <a:avLst/>
          </a:prstGeom>
        </p:spPr>
        <p:txBody>
          <a:bodyPr vert="horz" lIns="93287" tIns="46644" rIns="93287" bIns="46644"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6688" y="0"/>
            <a:ext cx="3041650" cy="466725"/>
          </a:xfrm>
          <a:prstGeom prst="rect">
            <a:avLst/>
          </a:prstGeom>
        </p:spPr>
        <p:txBody>
          <a:bodyPr vert="horz" lIns="93287" tIns="46644" rIns="93287" bIns="46644" rtlCol="0"/>
          <a:lstStyle>
            <a:lvl1pPr algn="r" fontAlgn="auto">
              <a:spcBef>
                <a:spcPts val="0"/>
              </a:spcBef>
              <a:spcAft>
                <a:spcPts val="0"/>
              </a:spcAft>
              <a:defRPr sz="1200" smtClean="0">
                <a:latin typeface="+mn-lt"/>
                <a:ea typeface="+mn-ea"/>
                <a:cs typeface="+mn-cs"/>
              </a:defRPr>
            </a:lvl1pPr>
          </a:lstStyle>
          <a:p>
            <a:pPr>
              <a:defRPr/>
            </a:pPr>
            <a:fld id="{B90DA6B0-839E-E24B-B25F-FFC4D9305D91}" type="datetimeFigureOut">
              <a:rPr lang="en-US"/>
              <a:pPr>
                <a:defRPr/>
              </a:pPr>
              <a:t>5/16/2023</a:t>
            </a:fld>
            <a:endParaRPr lang="en-US"/>
          </a:p>
        </p:txBody>
      </p:sp>
      <p:sp>
        <p:nvSpPr>
          <p:cNvPr id="4" name="Footer Placeholder 3"/>
          <p:cNvSpPr>
            <a:spLocks noGrp="1"/>
          </p:cNvSpPr>
          <p:nvPr>
            <p:ph type="ftr" sz="quarter" idx="2"/>
          </p:nvPr>
        </p:nvSpPr>
        <p:spPr>
          <a:xfrm>
            <a:off x="0" y="8839200"/>
            <a:ext cx="3041650" cy="466725"/>
          </a:xfrm>
          <a:prstGeom prst="rect">
            <a:avLst/>
          </a:prstGeom>
        </p:spPr>
        <p:txBody>
          <a:bodyPr vert="horz" lIns="93287" tIns="46644" rIns="93287" bIns="46644"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6688" y="8839200"/>
            <a:ext cx="3041650" cy="466725"/>
          </a:xfrm>
          <a:prstGeom prst="rect">
            <a:avLst/>
          </a:prstGeom>
        </p:spPr>
        <p:txBody>
          <a:bodyPr vert="horz" lIns="93287" tIns="46644" rIns="93287" bIns="46644" rtlCol="0" anchor="b"/>
          <a:lstStyle>
            <a:lvl1pPr algn="r" fontAlgn="auto">
              <a:spcBef>
                <a:spcPts val="0"/>
              </a:spcBef>
              <a:spcAft>
                <a:spcPts val="0"/>
              </a:spcAft>
              <a:defRPr sz="1200" smtClean="0">
                <a:latin typeface="+mn-lt"/>
                <a:ea typeface="+mn-ea"/>
                <a:cs typeface="+mn-cs"/>
              </a:defRPr>
            </a:lvl1pPr>
          </a:lstStyle>
          <a:p>
            <a:pPr>
              <a:defRPr/>
            </a:pPr>
            <a:fld id="{896C1288-5E73-3E48-9E69-4B2D5D178F16}" type="slidenum">
              <a:rPr lang="en-US"/>
              <a:pPr>
                <a:defRPr/>
              </a:pPr>
              <a:t>‹#›</a:t>
            </a:fld>
            <a:endParaRPr lang="en-US"/>
          </a:p>
        </p:txBody>
      </p:sp>
    </p:spTree>
    <p:extLst>
      <p:ext uri="{BB962C8B-B14F-4D97-AF65-F5344CB8AC3E}">
        <p14:creationId xmlns:p14="http://schemas.microsoft.com/office/powerpoint/2010/main" val="34092974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650" cy="466725"/>
          </a:xfrm>
          <a:prstGeom prst="rect">
            <a:avLst/>
          </a:prstGeom>
        </p:spPr>
        <p:txBody>
          <a:bodyPr vert="horz" lIns="93287" tIns="46644" rIns="93287" bIns="46644"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6688" y="0"/>
            <a:ext cx="3041650" cy="466725"/>
          </a:xfrm>
          <a:prstGeom prst="rect">
            <a:avLst/>
          </a:prstGeom>
        </p:spPr>
        <p:txBody>
          <a:bodyPr vert="horz" lIns="93287" tIns="46644" rIns="93287" bIns="46644" rtlCol="0"/>
          <a:lstStyle>
            <a:lvl1pPr algn="r" fontAlgn="auto">
              <a:spcBef>
                <a:spcPts val="0"/>
              </a:spcBef>
              <a:spcAft>
                <a:spcPts val="0"/>
              </a:spcAft>
              <a:defRPr sz="1200" smtClean="0">
                <a:latin typeface="+mn-lt"/>
                <a:ea typeface="+mn-ea"/>
                <a:cs typeface="+mn-cs"/>
              </a:defRPr>
            </a:lvl1pPr>
          </a:lstStyle>
          <a:p>
            <a:pPr>
              <a:defRPr/>
            </a:pPr>
            <a:fld id="{80192DF6-EB71-844D-9104-4A4EEFFCF951}" type="datetimeFigureOut">
              <a:rPr lang="en-US"/>
              <a:pPr>
                <a:defRPr/>
              </a:pPr>
              <a:t>5/16/2023</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87" tIns="46644" rIns="93287" bIns="46644" rtlCol="0" anchor="ctr"/>
          <a:lstStyle/>
          <a:p>
            <a:pPr lvl="0"/>
            <a:endParaRPr lang="en-US" noProof="0"/>
          </a:p>
        </p:txBody>
      </p:sp>
      <p:sp>
        <p:nvSpPr>
          <p:cNvPr id="5" name="Notes Placeholder 4"/>
          <p:cNvSpPr>
            <a:spLocks noGrp="1"/>
          </p:cNvSpPr>
          <p:nvPr>
            <p:ph type="body" sz="quarter" idx="3"/>
          </p:nvPr>
        </p:nvSpPr>
        <p:spPr>
          <a:xfrm>
            <a:off x="701675" y="4478338"/>
            <a:ext cx="5616575" cy="3663950"/>
          </a:xfrm>
          <a:prstGeom prst="rect">
            <a:avLst/>
          </a:prstGeom>
        </p:spPr>
        <p:txBody>
          <a:bodyPr vert="horz" lIns="93287" tIns="46644" rIns="93287" bIns="46644"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839200"/>
            <a:ext cx="3041650" cy="466725"/>
          </a:xfrm>
          <a:prstGeom prst="rect">
            <a:avLst/>
          </a:prstGeom>
        </p:spPr>
        <p:txBody>
          <a:bodyPr vert="horz" lIns="93287" tIns="46644" rIns="93287" bIns="46644"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6688" y="8839200"/>
            <a:ext cx="3041650" cy="466725"/>
          </a:xfrm>
          <a:prstGeom prst="rect">
            <a:avLst/>
          </a:prstGeom>
        </p:spPr>
        <p:txBody>
          <a:bodyPr vert="horz" lIns="93287" tIns="46644" rIns="93287" bIns="46644" rtlCol="0" anchor="b"/>
          <a:lstStyle>
            <a:lvl1pPr algn="r" fontAlgn="auto">
              <a:spcBef>
                <a:spcPts val="0"/>
              </a:spcBef>
              <a:spcAft>
                <a:spcPts val="0"/>
              </a:spcAft>
              <a:defRPr sz="1200" smtClean="0">
                <a:latin typeface="+mn-lt"/>
                <a:ea typeface="+mn-ea"/>
                <a:cs typeface="+mn-cs"/>
              </a:defRPr>
            </a:lvl1pPr>
          </a:lstStyle>
          <a:p>
            <a:pPr>
              <a:defRPr/>
            </a:pPr>
            <a:fld id="{504A94C6-EB52-D74D-9ACE-D50EDEA31668}" type="slidenum">
              <a:rPr lang="en-US"/>
              <a:pPr>
                <a:defRPr/>
              </a:pPr>
              <a:t>‹#›</a:t>
            </a:fld>
            <a:endParaRPr lang="en-US"/>
          </a:p>
        </p:txBody>
      </p:sp>
    </p:spTree>
    <p:extLst>
      <p:ext uri="{BB962C8B-B14F-4D97-AF65-F5344CB8AC3E}">
        <p14:creationId xmlns:p14="http://schemas.microsoft.com/office/powerpoint/2010/main" val="1704983882"/>
      </p:ext>
    </p:extLst>
  </p:cSld>
  <p:clrMap bg1="lt1" tx1="dk1" bg2="lt2" tx2="dk2" accent1="accent1" accent2="accent2" accent3="accent3" accent4="accent4" accent5="accent5" accent6="accent6" hlink="hlink" folHlink="folHlink"/>
  <p:notesStyle>
    <a:lvl1pPr algn="l" rtl="0" fontAlgn="base">
      <a:lnSpc>
        <a:spcPct val="125000"/>
      </a:lnSpc>
      <a:spcBef>
        <a:spcPts val="600"/>
      </a:spcBef>
      <a:spcAft>
        <a:spcPct val="0"/>
      </a:spcAft>
      <a:defRPr sz="900" kern="1200">
        <a:solidFill>
          <a:schemeClr val="tx1"/>
        </a:solidFill>
        <a:latin typeface="Roboto" panose="02000000000000000000" pitchFamily="2" charset="0"/>
        <a:ea typeface="ＭＳ Ｐゴシック" charset="0"/>
        <a:cs typeface="Roboto" charset="0"/>
      </a:defRPr>
    </a:lvl1pPr>
    <a:lvl2pPr marL="457200" algn="l" rtl="0" fontAlgn="base">
      <a:lnSpc>
        <a:spcPct val="125000"/>
      </a:lnSpc>
      <a:spcBef>
        <a:spcPts val="600"/>
      </a:spcBef>
      <a:spcAft>
        <a:spcPct val="0"/>
      </a:spcAft>
      <a:defRPr sz="900" kern="1200">
        <a:solidFill>
          <a:schemeClr val="tx1"/>
        </a:solidFill>
        <a:latin typeface="Roboto" panose="02000000000000000000" pitchFamily="2" charset="0"/>
        <a:ea typeface="Roboto" panose="02000000000000000000" pitchFamily="2" charset="0"/>
        <a:cs typeface="Roboto" charset="0"/>
      </a:defRPr>
    </a:lvl2pPr>
    <a:lvl3pPr marL="914400" algn="l" rtl="0" fontAlgn="base">
      <a:lnSpc>
        <a:spcPct val="125000"/>
      </a:lnSpc>
      <a:spcBef>
        <a:spcPts val="600"/>
      </a:spcBef>
      <a:spcAft>
        <a:spcPct val="0"/>
      </a:spcAft>
      <a:defRPr sz="900" kern="1200">
        <a:solidFill>
          <a:schemeClr val="tx1"/>
        </a:solidFill>
        <a:latin typeface="Roboto" panose="02000000000000000000" pitchFamily="2" charset="0"/>
        <a:ea typeface="Roboto" panose="02000000000000000000" pitchFamily="2" charset="0"/>
        <a:cs typeface="Roboto" charset="0"/>
      </a:defRPr>
    </a:lvl3pPr>
    <a:lvl4pPr marL="1371600" algn="l" rtl="0" fontAlgn="base">
      <a:lnSpc>
        <a:spcPct val="125000"/>
      </a:lnSpc>
      <a:spcBef>
        <a:spcPts val="600"/>
      </a:spcBef>
      <a:spcAft>
        <a:spcPct val="0"/>
      </a:spcAft>
      <a:defRPr sz="900" kern="1200">
        <a:solidFill>
          <a:schemeClr val="tx1"/>
        </a:solidFill>
        <a:latin typeface="Roboto" panose="02000000000000000000" pitchFamily="2" charset="0"/>
        <a:ea typeface="Roboto" panose="02000000000000000000" pitchFamily="2" charset="0"/>
        <a:cs typeface="Roboto" charset="0"/>
      </a:defRPr>
    </a:lvl4pPr>
    <a:lvl5pPr marL="1828800" algn="l" rtl="0" fontAlgn="base">
      <a:lnSpc>
        <a:spcPct val="125000"/>
      </a:lnSpc>
      <a:spcBef>
        <a:spcPts val="600"/>
      </a:spcBef>
      <a:spcAft>
        <a:spcPct val="0"/>
      </a:spcAft>
      <a:defRPr sz="900" kern="1200">
        <a:solidFill>
          <a:schemeClr val="tx1"/>
        </a:solidFill>
        <a:latin typeface="Roboto" panose="02000000000000000000" pitchFamily="2" charset="0"/>
        <a:ea typeface="Roboto" panose="02000000000000000000" pitchFamily="2" charset="0"/>
        <a:cs typeface="Roboto"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4DDAD74B-4254-4A15-B920-236F271C9A39}"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1</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2079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0</a:t>
            </a:fld>
            <a:endParaRPr lang="id-ID"/>
          </a:p>
        </p:txBody>
      </p:sp>
    </p:spTree>
    <p:extLst>
      <p:ext uri="{BB962C8B-B14F-4D97-AF65-F5344CB8AC3E}">
        <p14:creationId xmlns:p14="http://schemas.microsoft.com/office/powerpoint/2010/main" val="1384313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1</a:t>
            </a:fld>
            <a:endParaRPr lang="id-ID"/>
          </a:p>
        </p:txBody>
      </p:sp>
    </p:spTree>
    <p:extLst>
      <p:ext uri="{BB962C8B-B14F-4D97-AF65-F5344CB8AC3E}">
        <p14:creationId xmlns:p14="http://schemas.microsoft.com/office/powerpoint/2010/main" val="2046800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3</a:t>
            </a:fld>
            <a:endParaRPr lang="id-ID"/>
          </a:p>
        </p:txBody>
      </p:sp>
    </p:spTree>
    <p:extLst>
      <p:ext uri="{BB962C8B-B14F-4D97-AF65-F5344CB8AC3E}">
        <p14:creationId xmlns:p14="http://schemas.microsoft.com/office/powerpoint/2010/main" val="687769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4</a:t>
            </a:fld>
            <a:endParaRPr lang="id-ID"/>
          </a:p>
        </p:txBody>
      </p:sp>
    </p:spTree>
    <p:extLst>
      <p:ext uri="{BB962C8B-B14F-4D97-AF65-F5344CB8AC3E}">
        <p14:creationId xmlns:p14="http://schemas.microsoft.com/office/powerpoint/2010/main" val="379687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5</a:t>
            </a:fld>
            <a:endParaRPr lang="id-ID"/>
          </a:p>
        </p:txBody>
      </p:sp>
    </p:spTree>
    <p:extLst>
      <p:ext uri="{BB962C8B-B14F-4D97-AF65-F5344CB8AC3E}">
        <p14:creationId xmlns:p14="http://schemas.microsoft.com/office/powerpoint/2010/main" val="2352697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6</a:t>
            </a:fld>
            <a:endParaRPr lang="id-ID"/>
          </a:p>
        </p:txBody>
      </p:sp>
    </p:spTree>
    <p:extLst>
      <p:ext uri="{BB962C8B-B14F-4D97-AF65-F5344CB8AC3E}">
        <p14:creationId xmlns:p14="http://schemas.microsoft.com/office/powerpoint/2010/main" val="11772612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7</a:t>
            </a:fld>
            <a:endParaRPr lang="id-ID"/>
          </a:p>
        </p:txBody>
      </p:sp>
    </p:spTree>
    <p:extLst>
      <p:ext uri="{BB962C8B-B14F-4D97-AF65-F5344CB8AC3E}">
        <p14:creationId xmlns:p14="http://schemas.microsoft.com/office/powerpoint/2010/main" val="39059875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8</a:t>
            </a:fld>
            <a:endParaRPr lang="id-ID"/>
          </a:p>
        </p:txBody>
      </p:sp>
    </p:spTree>
    <p:extLst>
      <p:ext uri="{BB962C8B-B14F-4D97-AF65-F5344CB8AC3E}">
        <p14:creationId xmlns:p14="http://schemas.microsoft.com/office/powerpoint/2010/main" val="7638147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9</a:t>
            </a:fld>
            <a:endParaRPr lang="id-ID"/>
          </a:p>
        </p:txBody>
      </p:sp>
    </p:spTree>
    <p:extLst>
      <p:ext uri="{BB962C8B-B14F-4D97-AF65-F5344CB8AC3E}">
        <p14:creationId xmlns:p14="http://schemas.microsoft.com/office/powerpoint/2010/main" val="176719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0</a:t>
            </a:fld>
            <a:endParaRPr lang="id-ID"/>
          </a:p>
        </p:txBody>
      </p:sp>
    </p:spTree>
    <p:extLst>
      <p:ext uri="{BB962C8B-B14F-4D97-AF65-F5344CB8AC3E}">
        <p14:creationId xmlns:p14="http://schemas.microsoft.com/office/powerpoint/2010/main" val="3361470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a:t>
            </a:fld>
            <a:endParaRPr lang="id-ID"/>
          </a:p>
        </p:txBody>
      </p:sp>
    </p:spTree>
    <p:extLst>
      <p:ext uri="{BB962C8B-B14F-4D97-AF65-F5344CB8AC3E}">
        <p14:creationId xmlns:p14="http://schemas.microsoft.com/office/powerpoint/2010/main" val="974459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1</a:t>
            </a:fld>
            <a:endParaRPr lang="id-ID"/>
          </a:p>
        </p:txBody>
      </p:sp>
    </p:spTree>
    <p:extLst>
      <p:ext uri="{BB962C8B-B14F-4D97-AF65-F5344CB8AC3E}">
        <p14:creationId xmlns:p14="http://schemas.microsoft.com/office/powerpoint/2010/main" val="924193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2</a:t>
            </a:fld>
            <a:endParaRPr lang="id-ID"/>
          </a:p>
        </p:txBody>
      </p:sp>
    </p:spTree>
    <p:extLst>
      <p:ext uri="{BB962C8B-B14F-4D97-AF65-F5344CB8AC3E}">
        <p14:creationId xmlns:p14="http://schemas.microsoft.com/office/powerpoint/2010/main" val="2867681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3</a:t>
            </a:fld>
            <a:endParaRPr lang="id-ID"/>
          </a:p>
        </p:txBody>
      </p:sp>
    </p:spTree>
    <p:extLst>
      <p:ext uri="{BB962C8B-B14F-4D97-AF65-F5344CB8AC3E}">
        <p14:creationId xmlns:p14="http://schemas.microsoft.com/office/powerpoint/2010/main" val="1077689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4</a:t>
            </a:fld>
            <a:endParaRPr lang="id-ID"/>
          </a:p>
        </p:txBody>
      </p:sp>
    </p:spTree>
    <p:extLst>
      <p:ext uri="{BB962C8B-B14F-4D97-AF65-F5344CB8AC3E}">
        <p14:creationId xmlns:p14="http://schemas.microsoft.com/office/powerpoint/2010/main" val="29290445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5</a:t>
            </a:fld>
            <a:endParaRPr lang="id-ID"/>
          </a:p>
        </p:txBody>
      </p:sp>
    </p:spTree>
    <p:extLst>
      <p:ext uri="{BB962C8B-B14F-4D97-AF65-F5344CB8AC3E}">
        <p14:creationId xmlns:p14="http://schemas.microsoft.com/office/powerpoint/2010/main" val="19813163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26</a:t>
            </a:fld>
            <a:endParaRPr lang="id-ID"/>
          </a:p>
        </p:txBody>
      </p:sp>
    </p:spTree>
    <p:extLst>
      <p:ext uri="{BB962C8B-B14F-4D97-AF65-F5344CB8AC3E}">
        <p14:creationId xmlns:p14="http://schemas.microsoft.com/office/powerpoint/2010/main" val="2012398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31</a:t>
            </a:fld>
            <a:endParaRPr lang="id-ID"/>
          </a:p>
        </p:txBody>
      </p:sp>
    </p:spTree>
    <p:extLst>
      <p:ext uri="{BB962C8B-B14F-4D97-AF65-F5344CB8AC3E}">
        <p14:creationId xmlns:p14="http://schemas.microsoft.com/office/powerpoint/2010/main" val="1554396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42</a:t>
            </a:fld>
            <a:endParaRPr lang="id-ID"/>
          </a:p>
        </p:txBody>
      </p:sp>
    </p:spTree>
    <p:extLst>
      <p:ext uri="{BB962C8B-B14F-4D97-AF65-F5344CB8AC3E}">
        <p14:creationId xmlns:p14="http://schemas.microsoft.com/office/powerpoint/2010/main" val="219817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3</a:t>
            </a:fld>
            <a:endParaRPr lang="id-ID"/>
          </a:p>
        </p:txBody>
      </p:sp>
    </p:spTree>
    <p:extLst>
      <p:ext uri="{BB962C8B-B14F-4D97-AF65-F5344CB8AC3E}">
        <p14:creationId xmlns:p14="http://schemas.microsoft.com/office/powerpoint/2010/main" val="4276521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4</a:t>
            </a:fld>
            <a:endParaRPr lang="id-ID"/>
          </a:p>
        </p:txBody>
      </p:sp>
    </p:spTree>
    <p:extLst>
      <p:ext uri="{BB962C8B-B14F-4D97-AF65-F5344CB8AC3E}">
        <p14:creationId xmlns:p14="http://schemas.microsoft.com/office/powerpoint/2010/main" val="2617100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5</a:t>
            </a:fld>
            <a:endParaRPr lang="id-ID"/>
          </a:p>
        </p:txBody>
      </p:sp>
    </p:spTree>
    <p:extLst>
      <p:ext uri="{BB962C8B-B14F-4D97-AF65-F5344CB8AC3E}">
        <p14:creationId xmlns:p14="http://schemas.microsoft.com/office/powerpoint/2010/main" val="3359644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6</a:t>
            </a:fld>
            <a:endParaRPr lang="id-ID"/>
          </a:p>
        </p:txBody>
      </p:sp>
    </p:spTree>
    <p:extLst>
      <p:ext uri="{BB962C8B-B14F-4D97-AF65-F5344CB8AC3E}">
        <p14:creationId xmlns:p14="http://schemas.microsoft.com/office/powerpoint/2010/main" val="3780195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7</a:t>
            </a:fld>
            <a:endParaRPr lang="id-ID"/>
          </a:p>
        </p:txBody>
      </p:sp>
    </p:spTree>
    <p:extLst>
      <p:ext uri="{BB962C8B-B14F-4D97-AF65-F5344CB8AC3E}">
        <p14:creationId xmlns:p14="http://schemas.microsoft.com/office/powerpoint/2010/main" val="3913848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8</a:t>
            </a:fld>
            <a:endParaRPr lang="id-ID"/>
          </a:p>
        </p:txBody>
      </p:sp>
    </p:spTree>
    <p:extLst>
      <p:ext uri="{BB962C8B-B14F-4D97-AF65-F5344CB8AC3E}">
        <p14:creationId xmlns:p14="http://schemas.microsoft.com/office/powerpoint/2010/main" val="3127722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9</a:t>
            </a:fld>
            <a:endParaRPr lang="id-ID"/>
          </a:p>
        </p:txBody>
      </p:sp>
    </p:spTree>
    <p:extLst>
      <p:ext uri="{BB962C8B-B14F-4D97-AF65-F5344CB8AC3E}">
        <p14:creationId xmlns:p14="http://schemas.microsoft.com/office/powerpoint/2010/main" val="71325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1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2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2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8.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sv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2.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2.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2.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2.svg"/></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2.svg"/></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100.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5.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7.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103.xml"/><Relationship Id="rId4"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8CB3D4-30D8-4DBB-A3FA-4554ED58370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 r="35592" b="23725"/>
          <a:stretch/>
        </p:blipFill>
        <p:spPr>
          <a:xfrm>
            <a:off x="5379721" y="416321"/>
            <a:ext cx="6812279" cy="644168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76072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9000"/>
            <a:ext cx="5760720"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90038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7">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11521439"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grpSp>
        <p:nvGrpSpPr>
          <p:cNvPr id="14" name="Group 13">
            <a:extLst>
              <a:ext uri="{FF2B5EF4-FFF2-40B4-BE49-F238E27FC236}">
                <a16:creationId xmlns:a16="http://schemas.microsoft.com/office/drawing/2014/main" id="{E5ABB8FC-068B-454D-9279-EEDCA4E00E56}"/>
              </a:ext>
            </a:extLst>
          </p:cNvPr>
          <p:cNvGrpSpPr/>
          <p:nvPr/>
        </p:nvGrpSpPr>
        <p:grpSpPr>
          <a:xfrm>
            <a:off x="1" y="4754880"/>
            <a:ext cx="12191999" cy="1600200"/>
            <a:chOff x="1" y="4434840"/>
            <a:chExt cx="12191999" cy="1600200"/>
          </a:xfrm>
        </p:grpSpPr>
        <p:sp>
          <p:nvSpPr>
            <p:cNvPr id="15" name="Freeform: Shape 14">
              <a:extLst>
                <a:ext uri="{FF2B5EF4-FFF2-40B4-BE49-F238E27FC236}">
                  <a16:creationId xmlns:a16="http://schemas.microsoft.com/office/drawing/2014/main" id="{8C82FD6D-9BB1-4612-8DD8-CAF4D5414568}"/>
                </a:ext>
              </a:extLst>
            </p:cNvPr>
            <p:cNvSpPr/>
            <p:nvPr/>
          </p:nvSpPr>
          <p:spPr>
            <a:xfrm rot="16200000">
              <a:off x="6005973" y="-5043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6" name="Freeform: Shape 15">
              <a:extLst>
                <a:ext uri="{FF2B5EF4-FFF2-40B4-BE49-F238E27FC236}">
                  <a16:creationId xmlns:a16="http://schemas.microsoft.com/office/drawing/2014/main" id="{D12B5A68-8EF0-4C7A-BB81-09E4A111F215}"/>
                </a:ext>
              </a:extLst>
            </p:cNvPr>
            <p:cNvSpPr/>
            <p:nvPr/>
          </p:nvSpPr>
          <p:spPr>
            <a:xfrm rot="16200000">
              <a:off x="6008229" y="-8599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8" name="Freeform: Shape 17">
              <a:extLst>
                <a:ext uri="{FF2B5EF4-FFF2-40B4-BE49-F238E27FC236}">
                  <a16:creationId xmlns:a16="http://schemas.microsoft.com/office/drawing/2014/main" id="{AB76E9FD-333B-466B-B295-21DA9ACF7BE7}"/>
                </a:ext>
              </a:extLst>
            </p:cNvPr>
            <p:cNvSpPr/>
            <p:nvPr/>
          </p:nvSpPr>
          <p:spPr>
            <a:xfrm rot="16200000">
              <a:off x="6008229" y="-12155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0" name="Freeform: Shape 19">
              <a:extLst>
                <a:ext uri="{FF2B5EF4-FFF2-40B4-BE49-F238E27FC236}">
                  <a16:creationId xmlns:a16="http://schemas.microsoft.com/office/drawing/2014/main" id="{41045688-A1C0-480A-9010-2510EC13EDC5}"/>
                </a:ext>
              </a:extLst>
            </p:cNvPr>
            <p:cNvSpPr/>
            <p:nvPr/>
          </p:nvSpPr>
          <p:spPr>
            <a:xfrm rot="16200000">
              <a:off x="5711953" y="147543"/>
              <a:ext cx="177800" cy="11597193"/>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1" name="Freeform: Shape 20">
              <a:extLst>
                <a:ext uri="{FF2B5EF4-FFF2-40B4-BE49-F238E27FC236}">
                  <a16:creationId xmlns:a16="http://schemas.microsoft.com/office/drawing/2014/main" id="{63D596E4-0307-4E52-955E-5219321EC1D3}"/>
                </a:ext>
              </a:extLst>
            </p:cNvPr>
            <p:cNvSpPr/>
            <p:nvPr/>
          </p:nvSpPr>
          <p:spPr>
            <a:xfrm rot="16200000">
              <a:off x="5711953" y="-1274857"/>
              <a:ext cx="177800" cy="11597193"/>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2" name="Freeform: Shape 21">
              <a:extLst>
                <a:ext uri="{FF2B5EF4-FFF2-40B4-BE49-F238E27FC236}">
                  <a16:creationId xmlns:a16="http://schemas.microsoft.com/office/drawing/2014/main" id="{910CF1A0-CD05-48CA-9136-69F8EB2488E9}"/>
                </a:ext>
              </a:extLst>
            </p:cNvPr>
            <p:cNvSpPr/>
            <p:nvPr/>
          </p:nvSpPr>
          <p:spPr>
            <a:xfrm rot="16200000">
              <a:off x="11095865" y="4939792"/>
              <a:ext cx="1600200" cy="590295"/>
            </a:xfrm>
            <a:custGeom>
              <a:avLst/>
              <a:gdLst>
                <a:gd name="connsiteX0" fmla="*/ 0 w 1714500"/>
                <a:gd name="connsiteY0" fmla="*/ 0 h 632461"/>
                <a:gd name="connsiteX1" fmla="*/ 206693 w 1714500"/>
                <a:gd name="connsiteY1" fmla="*/ 0 h 632461"/>
                <a:gd name="connsiteX2" fmla="*/ 857250 w 1714500"/>
                <a:gd name="connsiteY2" fmla="*/ 485775 h 632461"/>
                <a:gd name="connsiteX3" fmla="*/ 1507808 w 1714500"/>
                <a:gd name="connsiteY3" fmla="*/ 0 h 632461"/>
                <a:gd name="connsiteX4" fmla="*/ 1714500 w 1714500"/>
                <a:gd name="connsiteY4" fmla="*/ 0 h 632461"/>
                <a:gd name="connsiteX5" fmla="*/ 1617107 w 1714500"/>
                <a:gd name="connsiteY5" fmla="*/ 583168 h 632461"/>
                <a:gd name="connsiteX6" fmla="*/ 1607596 w 1714500"/>
                <a:gd name="connsiteY6" fmla="*/ 632461 h 632461"/>
                <a:gd name="connsiteX7" fmla="*/ 106200 w 1714500"/>
                <a:gd name="connsiteY7" fmla="*/ 632461 h 632461"/>
                <a:gd name="connsiteX8" fmla="*/ 96679 w 1714500"/>
                <a:gd name="connsiteY8" fmla="*/ 583168 h 632461"/>
                <a:gd name="connsiteX9" fmla="*/ 0 w 1714500"/>
                <a:gd name="connsiteY9" fmla="*/ 0 h 63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0" h="632461">
                  <a:moveTo>
                    <a:pt x="0" y="0"/>
                  </a:moveTo>
                  <a:lnTo>
                    <a:pt x="206693" y="0"/>
                  </a:lnTo>
                  <a:cubicBezTo>
                    <a:pt x="243840" y="98108"/>
                    <a:pt x="418148" y="485775"/>
                    <a:pt x="857250" y="485775"/>
                  </a:cubicBezTo>
                  <a:cubicBezTo>
                    <a:pt x="1296353" y="485775"/>
                    <a:pt x="1470660" y="98108"/>
                    <a:pt x="1507808" y="0"/>
                  </a:cubicBezTo>
                  <a:lnTo>
                    <a:pt x="1714500" y="0"/>
                  </a:lnTo>
                  <a:cubicBezTo>
                    <a:pt x="1702594" y="79057"/>
                    <a:pt x="1668066" y="307896"/>
                    <a:pt x="1617107" y="583168"/>
                  </a:cubicBezTo>
                  <a:lnTo>
                    <a:pt x="1607596" y="632461"/>
                  </a:lnTo>
                  <a:lnTo>
                    <a:pt x="106200" y="632461"/>
                  </a:lnTo>
                  <a:lnTo>
                    <a:pt x="96679" y="583168"/>
                  </a:lnTo>
                  <a:cubicBezTo>
                    <a:pt x="45720" y="307896"/>
                    <a:pt x="11430" y="79057"/>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peedee"/>
                <a:ea typeface="+mn-ea"/>
                <a:cs typeface="+mn-cs"/>
              </a:endParaRPr>
            </a:p>
          </p:txBody>
        </p:sp>
      </p:grpSp>
    </p:spTree>
    <p:custDataLst>
      <p:tags r:id="rId1"/>
    </p:custDataLst>
    <p:extLst>
      <p:ext uri="{BB962C8B-B14F-4D97-AF65-F5344CB8AC3E}">
        <p14:creationId xmlns:p14="http://schemas.microsoft.com/office/powerpoint/2010/main" val="39745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67942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lvl1pPr algn="ctr">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2354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1524000" y="228600"/>
            <a:ext cx="9144000" cy="6400799"/>
          </a:xfrm>
        </p:spPr>
        <p:txBody>
          <a:bodyPr anchor="ctr" anchorCtr="1"/>
          <a:lstStyle>
            <a:lvl1pPr algn="l">
              <a:lnSpc>
                <a:spcPct val="100000"/>
              </a:lnSpc>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84742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Quot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2438400" y="228600"/>
            <a:ext cx="7315200" cy="6400799"/>
          </a:xfrm>
        </p:spPr>
        <p:txBody>
          <a:bodyPr anchor="ctr" anchorCtr="1"/>
          <a:lstStyle>
            <a:lvl1pPr algn="ctr">
              <a:lnSpc>
                <a:spcPct val="100000"/>
              </a:lnSpc>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34076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Quote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2438400" y="228600"/>
            <a:ext cx="7315200" cy="6400799"/>
          </a:xfrm>
        </p:spPr>
        <p:txBody>
          <a:bodyPr anchor="ctr" anchorCtr="1"/>
          <a:lstStyle>
            <a:lvl1pPr algn="ctr">
              <a:lnSpc>
                <a:spcPct val="100000"/>
              </a:lnSpc>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61943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1642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7DD7EE2F-56DA-4FC6-9605-07FD606C55AE}"/>
              </a:ext>
            </a:extLst>
          </p:cNvPr>
          <p:cNvSpPr/>
          <p:nvPr/>
        </p:nvSpPr>
        <p:spPr>
          <a:xfrm>
            <a:off x="0" y="0"/>
            <a:ext cx="12192000" cy="6858000"/>
          </a:xfrm>
          <a:custGeom>
            <a:avLst/>
            <a:gdLst>
              <a:gd name="connsiteX0" fmla="*/ 244475 w 12192000"/>
              <a:gd name="connsiteY0" fmla="*/ 228600 h 6858000"/>
              <a:gd name="connsiteX1" fmla="*/ 244475 w 12192000"/>
              <a:gd name="connsiteY1" fmla="*/ 6629400 h 6858000"/>
              <a:gd name="connsiteX2" fmla="*/ 11947525 w 12192000"/>
              <a:gd name="connsiteY2" fmla="*/ 6629400 h 6858000"/>
              <a:gd name="connsiteX3" fmla="*/ 11947525 w 12192000"/>
              <a:gd name="connsiteY3" fmla="*/ 228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4475" y="228600"/>
                </a:moveTo>
                <a:lnTo>
                  <a:pt x="244475" y="6629400"/>
                </a:lnTo>
                <a:lnTo>
                  <a:pt x="11947525" y="6629400"/>
                </a:lnTo>
                <a:lnTo>
                  <a:pt x="11947525" y="228600"/>
                </a:lnTo>
                <a:close/>
                <a:moveTo>
                  <a:pt x="0" y="0"/>
                </a:moveTo>
                <a:lnTo>
                  <a:pt x="12192000" y="0"/>
                </a:lnTo>
                <a:lnTo>
                  <a:pt x="12192000"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14756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3">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C329411-F38A-4621-B822-B1D93BFA34B6}"/>
              </a:ext>
            </a:extLst>
          </p:cNvPr>
          <p:cNvGrpSpPr/>
          <p:nvPr/>
        </p:nvGrpSpPr>
        <p:grpSpPr>
          <a:xfrm>
            <a:off x="0" y="0"/>
            <a:ext cx="12192000" cy="6858000"/>
            <a:chOff x="0" y="0"/>
            <a:chExt cx="12192000" cy="6858000"/>
          </a:xfrm>
        </p:grpSpPr>
        <p:sp>
          <p:nvSpPr>
            <p:cNvPr id="7" name="Freeform: Shape 6">
              <a:extLst>
                <a:ext uri="{FF2B5EF4-FFF2-40B4-BE49-F238E27FC236}">
                  <a16:creationId xmlns:a16="http://schemas.microsoft.com/office/drawing/2014/main" id="{F0FF2E7B-84E2-4B03-8B74-F89D93D3029A}"/>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1948160 w 12192000"/>
                <a:gd name="connsiteY3" fmla="*/ 6858000 h 6858000"/>
                <a:gd name="connsiteX4" fmla="*/ 11948160 w 12192000"/>
                <a:gd name="connsiteY4" fmla="*/ 5623560 h 6858000"/>
                <a:gd name="connsiteX5" fmla="*/ 11947525 w 12192000"/>
                <a:gd name="connsiteY5" fmla="*/ 5623560 h 6858000"/>
                <a:gd name="connsiteX6" fmla="*/ 11947525 w 12192000"/>
                <a:gd name="connsiteY6" fmla="*/ 228600 h 6858000"/>
                <a:gd name="connsiteX7" fmla="*/ 244475 w 12192000"/>
                <a:gd name="connsiteY7" fmla="*/ 228600 h 6858000"/>
                <a:gd name="connsiteX8" fmla="*/ 244475 w 12192000"/>
                <a:gd name="connsiteY8" fmla="*/ 6629400 h 6858000"/>
                <a:gd name="connsiteX9" fmla="*/ 10759440 w 12192000"/>
                <a:gd name="connsiteY9" fmla="*/ 6629400 h 6858000"/>
                <a:gd name="connsiteX10" fmla="*/ 10759440 w 12192000"/>
                <a:gd name="connsiteY10" fmla="*/ 6858000 h 6858000"/>
                <a:gd name="connsiteX11" fmla="*/ 0 w 12192000"/>
                <a:gd name="connsiteY11" fmla="*/ 6858000 h 6858000"/>
                <a:gd name="connsiteX12" fmla="*/ 0 w 12192000"/>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0" y="0"/>
                  </a:moveTo>
                  <a:lnTo>
                    <a:pt x="12192000" y="0"/>
                  </a:lnTo>
                  <a:lnTo>
                    <a:pt x="12192000" y="6858000"/>
                  </a:lnTo>
                  <a:lnTo>
                    <a:pt x="11948160" y="6858000"/>
                  </a:lnTo>
                  <a:lnTo>
                    <a:pt x="11948160" y="5623560"/>
                  </a:lnTo>
                  <a:lnTo>
                    <a:pt x="11947525" y="5623560"/>
                  </a:lnTo>
                  <a:lnTo>
                    <a:pt x="11947525" y="228600"/>
                  </a:lnTo>
                  <a:lnTo>
                    <a:pt x="244475" y="228600"/>
                  </a:lnTo>
                  <a:lnTo>
                    <a:pt x="244475" y="6629400"/>
                  </a:lnTo>
                  <a:lnTo>
                    <a:pt x="10759440" y="6629400"/>
                  </a:lnTo>
                  <a:lnTo>
                    <a:pt x="10759440"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lnSpc>
                  <a:spcPct val="90000"/>
                </a:lnSpc>
                <a:spcBef>
                  <a:spcPts val="1200"/>
                </a:spcBef>
              </a:pPr>
              <a:endParaRPr lang="en-US" sz="1800" dirty="0" err="1"/>
            </a:p>
          </p:txBody>
        </p:sp>
        <p:sp>
          <p:nvSpPr>
            <p:cNvPr id="8" name="Graphic 10">
              <a:extLst>
                <a:ext uri="{FF2B5EF4-FFF2-40B4-BE49-F238E27FC236}">
                  <a16:creationId xmlns:a16="http://schemas.microsoft.com/office/drawing/2014/main" id="{4018B138-26D4-4E7D-A0DC-6D616584598B}"/>
                </a:ext>
              </a:extLst>
            </p:cNvPr>
            <p:cNvSpPr>
              <a:spLocks noChangeAspect="1"/>
            </p:cNvSpPr>
            <p:nvPr/>
          </p:nvSpPr>
          <p:spPr>
            <a:xfrm>
              <a:off x="10439400" y="6629400"/>
              <a:ext cx="617220" cy="228600"/>
            </a:xfrm>
            <a:custGeom>
              <a:avLst/>
              <a:gdLst>
                <a:gd name="connsiteX0" fmla="*/ 772368 w 771525"/>
                <a:gd name="connsiteY0" fmla="*/ 269558 h 285750"/>
                <a:gd name="connsiteX1" fmla="*/ 753318 w 771525"/>
                <a:gd name="connsiteY1" fmla="*/ 291465 h 285750"/>
                <a:gd name="connsiteX2" fmla="*/ 406608 w 771525"/>
                <a:gd name="connsiteY2" fmla="*/ 291465 h 285750"/>
                <a:gd name="connsiteX3" fmla="*/ 2748 w 771525"/>
                <a:gd name="connsiteY3" fmla="*/ 6668 h 285750"/>
                <a:gd name="connsiteX4" fmla="*/ 3701 w 771525"/>
                <a:gd name="connsiteY4" fmla="*/ 0 h 285750"/>
                <a:gd name="connsiteX5" fmla="*/ 450423 w 771525"/>
                <a:gd name="connsiteY5" fmla="*/ 0 h 285750"/>
                <a:gd name="connsiteX6" fmla="*/ 772368 w 771525"/>
                <a:gd name="connsiteY6" fmla="*/ 26955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525" h="285750">
                  <a:moveTo>
                    <a:pt x="772368" y="269558"/>
                  </a:moveTo>
                  <a:cubicBezTo>
                    <a:pt x="774273" y="280988"/>
                    <a:pt x="764748" y="291465"/>
                    <a:pt x="753318" y="291465"/>
                  </a:cubicBezTo>
                  <a:lnTo>
                    <a:pt x="406608" y="291465"/>
                  </a:lnTo>
                  <a:cubicBezTo>
                    <a:pt x="131336" y="291465"/>
                    <a:pt x="185628" y="56198"/>
                    <a:pt x="2748" y="6668"/>
                  </a:cubicBezTo>
                  <a:cubicBezTo>
                    <a:pt x="-1062" y="5715"/>
                    <a:pt x="-1062" y="0"/>
                    <a:pt x="3701" y="0"/>
                  </a:cubicBezTo>
                  <a:lnTo>
                    <a:pt x="450423" y="0"/>
                  </a:lnTo>
                  <a:cubicBezTo>
                    <a:pt x="589488" y="0"/>
                    <a:pt x="748556" y="99060"/>
                    <a:pt x="772368" y="269558"/>
                  </a:cubicBezTo>
                  <a:close/>
                </a:path>
              </a:pathLst>
            </a:custGeom>
            <a:solidFill>
              <a:schemeClr val="accent2"/>
            </a:solidFill>
            <a:ln w="9525" cap="flat">
              <a:noFill/>
              <a:prstDash val="solid"/>
              <a:miter/>
            </a:ln>
          </p:spPr>
          <p:txBody>
            <a:bodyPr rtlCol="0" anchor="ctr"/>
            <a:lstStyle/>
            <a:p>
              <a:endParaRPr lang="en-US"/>
            </a:p>
          </p:txBody>
        </p:sp>
      </p:grpSp>
    </p:spTree>
    <p:custDataLst>
      <p:tags r:id="rId1"/>
    </p:custDataLst>
    <p:extLst>
      <p:ext uri="{BB962C8B-B14F-4D97-AF65-F5344CB8AC3E}">
        <p14:creationId xmlns:p14="http://schemas.microsoft.com/office/powerpoint/2010/main" val="303768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lose 1">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FAF2E-865B-8144-BE35-713D54848982}"/>
              </a:ext>
            </a:extLst>
          </p:cNvPr>
          <p:cNvSpPr>
            <a:spLocks noGrp="1"/>
          </p:cNvSpPr>
          <p:nvPr>
            <p:ph type="title"/>
          </p:nvPr>
        </p:nvSpPr>
        <p:spPr>
          <a:xfrm>
            <a:off x="334963" y="4572000"/>
            <a:ext cx="11522076" cy="1097280"/>
          </a:xfrm>
          <a:prstGeom prst="rect">
            <a:avLst/>
          </a:prstGeom>
        </p:spPr>
        <p:txBody>
          <a:bodyPr/>
          <a:lstStyle>
            <a:lvl1pPr algn="ctr">
              <a:defRPr sz="4000" b="1">
                <a:solidFill>
                  <a:schemeClr val="bg1"/>
                </a:solidFill>
                <a:latin typeface="Speedee" panose="020B0603030502020204" pitchFamily="34" charset="0"/>
              </a:defRPr>
            </a:lvl1pPr>
          </a:lstStyle>
          <a:p>
            <a:r>
              <a:rPr lang="en-US"/>
              <a:t>Click to edit Master title style</a:t>
            </a:r>
            <a:endParaRPr lang="en-US" dirty="0"/>
          </a:p>
        </p:txBody>
      </p:sp>
      <p:sp>
        <p:nvSpPr>
          <p:cNvPr id="6" name="Graphic 4">
            <a:extLst>
              <a:ext uri="{FF2B5EF4-FFF2-40B4-BE49-F238E27FC236}">
                <a16:creationId xmlns:a16="http://schemas.microsoft.com/office/drawing/2014/main" id="{C3921F8B-7D89-4D3C-A0B7-A4A5676B0457}"/>
              </a:ext>
            </a:extLst>
          </p:cNvPr>
          <p:cNvSpPr/>
          <p:nvPr/>
        </p:nvSpPr>
        <p:spPr>
          <a:xfrm>
            <a:off x="3166291" y="1654806"/>
            <a:ext cx="5851803" cy="2538743"/>
          </a:xfrm>
          <a:custGeom>
            <a:avLst/>
            <a:gdLst>
              <a:gd name="connsiteX0" fmla="*/ 5045752 w 5851802"/>
              <a:gd name="connsiteY0" fmla="*/ 0 h 2538742"/>
              <a:gd name="connsiteX1" fmla="*/ 4895966 w 5851802"/>
              <a:gd name="connsiteY1" fmla="*/ 313535 h 2538742"/>
              <a:gd name="connsiteX2" fmla="*/ 5156187 w 5851802"/>
              <a:gd name="connsiteY2" fmla="*/ 427778 h 2538742"/>
              <a:gd name="connsiteX3" fmla="*/ 2929710 w 5851802"/>
              <a:gd name="connsiteY3" fmla="*/ 1942138 h 2538742"/>
              <a:gd name="connsiteX4" fmla="*/ 704501 w 5851802"/>
              <a:gd name="connsiteY4" fmla="*/ 426509 h 2538742"/>
              <a:gd name="connsiteX5" fmla="*/ 964722 w 5851802"/>
              <a:gd name="connsiteY5" fmla="*/ 312265 h 2538742"/>
              <a:gd name="connsiteX6" fmla="*/ 814937 w 5851802"/>
              <a:gd name="connsiteY6" fmla="*/ 0 h 2538742"/>
              <a:gd name="connsiteX7" fmla="*/ 0 w 5851802"/>
              <a:gd name="connsiteY7" fmla="*/ 371926 h 2538742"/>
              <a:gd name="connsiteX8" fmla="*/ 144708 w 5851802"/>
              <a:gd name="connsiteY8" fmla="*/ 680383 h 2538742"/>
              <a:gd name="connsiteX9" fmla="*/ 435394 w 5851802"/>
              <a:gd name="connsiteY9" fmla="*/ 545830 h 2538742"/>
              <a:gd name="connsiteX10" fmla="*/ 2929710 w 5851802"/>
              <a:gd name="connsiteY10" fmla="*/ 2546359 h 2538742"/>
              <a:gd name="connsiteX11" fmla="*/ 5425294 w 5851802"/>
              <a:gd name="connsiteY11" fmla="*/ 545830 h 2538742"/>
              <a:gd name="connsiteX12" fmla="*/ 5715980 w 5851802"/>
              <a:gd name="connsiteY12" fmla="*/ 680383 h 2538742"/>
              <a:gd name="connsiteX13" fmla="*/ 5860688 w 5851802"/>
              <a:gd name="connsiteY13" fmla="*/ 371926 h 2538742"/>
              <a:gd name="connsiteX14" fmla="*/ 5045752 w 5851802"/>
              <a:gd name="connsiteY14" fmla="*/ 0 h 253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1802" h="2538742">
                <a:moveTo>
                  <a:pt x="5045752" y="0"/>
                </a:moveTo>
                <a:lnTo>
                  <a:pt x="4895966" y="313535"/>
                </a:lnTo>
                <a:lnTo>
                  <a:pt x="5156187" y="427778"/>
                </a:lnTo>
                <a:cubicBezTo>
                  <a:pt x="4774106" y="1535939"/>
                  <a:pt x="3698949" y="1942138"/>
                  <a:pt x="2929710" y="1942138"/>
                </a:cubicBezTo>
                <a:cubicBezTo>
                  <a:pt x="2160470" y="1942138"/>
                  <a:pt x="1086582" y="1535939"/>
                  <a:pt x="704501" y="426509"/>
                </a:cubicBezTo>
                <a:lnTo>
                  <a:pt x="964722" y="312265"/>
                </a:lnTo>
                <a:lnTo>
                  <a:pt x="814937" y="0"/>
                </a:lnTo>
                <a:lnTo>
                  <a:pt x="0" y="371926"/>
                </a:lnTo>
                <a:lnTo>
                  <a:pt x="144708" y="680383"/>
                </a:lnTo>
                <a:lnTo>
                  <a:pt x="435394" y="545830"/>
                </a:lnTo>
                <a:cubicBezTo>
                  <a:pt x="586450" y="1120855"/>
                  <a:pt x="1375999" y="2546359"/>
                  <a:pt x="2929710" y="2546359"/>
                </a:cubicBezTo>
                <a:cubicBezTo>
                  <a:pt x="4483420" y="2546359"/>
                  <a:pt x="5274239" y="1120855"/>
                  <a:pt x="5425294" y="545830"/>
                </a:cubicBezTo>
                <a:lnTo>
                  <a:pt x="5715980" y="680383"/>
                </a:lnTo>
                <a:lnTo>
                  <a:pt x="5860688" y="371926"/>
                </a:lnTo>
                <a:lnTo>
                  <a:pt x="5045752" y="0"/>
                </a:lnTo>
                <a:close/>
              </a:path>
            </a:pathLst>
          </a:custGeom>
          <a:solidFill>
            <a:schemeClr val="accent1"/>
          </a:solidFill>
          <a:ln w="12693" cap="flat">
            <a:noFill/>
            <a:prstDash val="solid"/>
            <a:miter/>
          </a:ln>
        </p:spPr>
        <p:txBody>
          <a:bodyPr rtlCol="0" anchor="ctr"/>
          <a:lstStyle/>
          <a:p>
            <a:endParaRPr lang="en-US"/>
          </a:p>
        </p:txBody>
      </p:sp>
    </p:spTree>
    <p:custDataLst>
      <p:tags r:id="rId1"/>
    </p:custDataLst>
    <p:extLst>
      <p:ext uri="{BB962C8B-B14F-4D97-AF65-F5344CB8AC3E}">
        <p14:creationId xmlns:p14="http://schemas.microsoft.com/office/powerpoint/2010/main" val="35822710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Vide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4962" y="1600200"/>
            <a:ext cx="11522076" cy="1828800"/>
          </a:xfrm>
        </p:spPr>
        <p:txBody>
          <a:bodyPr lIns="91440" rIns="91440" anchor="b">
            <a:noAutofit/>
          </a:bodyPr>
          <a:lstStyle>
            <a:lvl1pPr algn="ctr">
              <a:defRPr sz="4000">
                <a:solidFill>
                  <a:schemeClr val="bg1">
                    <a:lumMod val="50000"/>
                  </a:schemeClr>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4962" y="3429000"/>
            <a:ext cx="11522076" cy="1828800"/>
          </a:xfrm>
        </p:spPr>
        <p:txBody>
          <a:bodyPr lIns="137160" tIns="182880" rIns="137160" bIns="182880" anchor="t" anchorCtr="1"/>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15406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2645E44C-BC01-4C20-BC03-C07046E16E25}"/>
              </a:ext>
            </a:extLst>
          </p:cNvPr>
          <p:cNvSpPr/>
          <p:nvPr/>
        </p:nvSpPr>
        <p:spPr>
          <a:xfrm flipV="1">
            <a:off x="6094196" y="228600"/>
            <a:ext cx="6097804" cy="6629400"/>
          </a:xfrm>
          <a:custGeom>
            <a:avLst/>
            <a:gdLst>
              <a:gd name="connsiteX0" fmla="*/ 2439 w 6097804"/>
              <a:gd name="connsiteY0" fmla="*/ 6629400 h 6629400"/>
              <a:gd name="connsiteX1" fmla="*/ 307303 w 6097804"/>
              <a:gd name="connsiteY1" fmla="*/ 6332812 h 6629400"/>
              <a:gd name="connsiteX2" fmla="*/ 612167 w 6097804"/>
              <a:gd name="connsiteY2" fmla="*/ 6629400 h 6629400"/>
              <a:gd name="connsiteX3" fmla="*/ 917030 w 6097804"/>
              <a:gd name="connsiteY3" fmla="*/ 6332812 h 6629400"/>
              <a:gd name="connsiteX4" fmla="*/ 1221894 w 6097804"/>
              <a:gd name="connsiteY4" fmla="*/ 6629400 h 6629400"/>
              <a:gd name="connsiteX5" fmla="*/ 1526757 w 6097804"/>
              <a:gd name="connsiteY5" fmla="*/ 6332812 h 6629400"/>
              <a:gd name="connsiteX6" fmla="*/ 1831621 w 6097804"/>
              <a:gd name="connsiteY6" fmla="*/ 6629400 h 6629400"/>
              <a:gd name="connsiteX7" fmla="*/ 2136484 w 6097804"/>
              <a:gd name="connsiteY7" fmla="*/ 6332812 h 6629400"/>
              <a:gd name="connsiteX8" fmla="*/ 2441348 w 6097804"/>
              <a:gd name="connsiteY8" fmla="*/ 6629400 h 6629400"/>
              <a:gd name="connsiteX9" fmla="*/ 2746212 w 6097804"/>
              <a:gd name="connsiteY9" fmla="*/ 6332812 h 6629400"/>
              <a:gd name="connsiteX10" fmla="*/ 3051074 w 6097804"/>
              <a:gd name="connsiteY10" fmla="*/ 6629400 h 6629400"/>
              <a:gd name="connsiteX11" fmla="*/ 3355938 w 6097804"/>
              <a:gd name="connsiteY11" fmla="*/ 6332812 h 6629400"/>
              <a:gd name="connsiteX12" fmla="*/ 3660802 w 6097804"/>
              <a:gd name="connsiteY12" fmla="*/ 6629400 h 6629400"/>
              <a:gd name="connsiteX13" fmla="*/ 3965665 w 6097804"/>
              <a:gd name="connsiteY13" fmla="*/ 6332812 h 6629400"/>
              <a:gd name="connsiteX14" fmla="*/ 4270529 w 6097804"/>
              <a:gd name="connsiteY14" fmla="*/ 6629400 h 6629400"/>
              <a:gd name="connsiteX15" fmla="*/ 4575392 w 6097804"/>
              <a:gd name="connsiteY15" fmla="*/ 6332812 h 6629400"/>
              <a:gd name="connsiteX16" fmla="*/ 4880256 w 6097804"/>
              <a:gd name="connsiteY16" fmla="*/ 6629400 h 6629400"/>
              <a:gd name="connsiteX17" fmla="*/ 5185120 w 6097804"/>
              <a:gd name="connsiteY17" fmla="*/ 6332812 h 6629400"/>
              <a:gd name="connsiteX18" fmla="*/ 5489983 w 6097804"/>
              <a:gd name="connsiteY18" fmla="*/ 6629400 h 6629400"/>
              <a:gd name="connsiteX19" fmla="*/ 5794847 w 6097804"/>
              <a:gd name="connsiteY19" fmla="*/ 6332812 h 6629400"/>
              <a:gd name="connsiteX20" fmla="*/ 6097804 w 6097804"/>
              <a:gd name="connsiteY20" fmla="*/ 6627487 h 6629400"/>
              <a:gd name="connsiteX21" fmla="*/ 6097804 w 6097804"/>
              <a:gd name="connsiteY21" fmla="*/ 1463040 h 6629400"/>
              <a:gd name="connsiteX22" fmla="*/ 6097804 w 6097804"/>
              <a:gd name="connsiteY22" fmla="*/ 0 h 6629400"/>
              <a:gd name="connsiteX23" fmla="*/ 1804 w 6097804"/>
              <a:gd name="connsiteY23" fmla="*/ 0 h 6629400"/>
              <a:gd name="connsiteX24" fmla="*/ 1804 w 6097804"/>
              <a:gd name="connsiteY24" fmla="*/ 1463040 h 6629400"/>
              <a:gd name="connsiteX25" fmla="*/ 0 w 6097804"/>
              <a:gd name="connsiteY25" fmla="*/ 1463040 h 6629400"/>
              <a:gd name="connsiteX26" fmla="*/ 0 w 6097804"/>
              <a:gd name="connsiteY26" fmla="*/ 6627027 h 66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97804" h="6629400">
                <a:moveTo>
                  <a:pt x="2439" y="6629400"/>
                </a:moveTo>
                <a:lnTo>
                  <a:pt x="307303" y="6332812"/>
                </a:lnTo>
                <a:lnTo>
                  <a:pt x="612167" y="6629400"/>
                </a:lnTo>
                <a:lnTo>
                  <a:pt x="917030" y="6332812"/>
                </a:lnTo>
                <a:lnTo>
                  <a:pt x="1221894" y="6629400"/>
                </a:lnTo>
                <a:lnTo>
                  <a:pt x="1526757" y="6332812"/>
                </a:lnTo>
                <a:lnTo>
                  <a:pt x="1831621" y="6629400"/>
                </a:lnTo>
                <a:lnTo>
                  <a:pt x="2136484" y="6332812"/>
                </a:lnTo>
                <a:lnTo>
                  <a:pt x="2441348" y="6629400"/>
                </a:lnTo>
                <a:lnTo>
                  <a:pt x="2746212" y="6332812"/>
                </a:lnTo>
                <a:lnTo>
                  <a:pt x="3051074" y="6629400"/>
                </a:lnTo>
                <a:lnTo>
                  <a:pt x="3355938" y="6332812"/>
                </a:lnTo>
                <a:lnTo>
                  <a:pt x="3660802" y="6629400"/>
                </a:lnTo>
                <a:lnTo>
                  <a:pt x="3965665" y="6332812"/>
                </a:lnTo>
                <a:lnTo>
                  <a:pt x="4270529" y="6629400"/>
                </a:lnTo>
                <a:lnTo>
                  <a:pt x="4575392" y="6332812"/>
                </a:lnTo>
                <a:lnTo>
                  <a:pt x="4880256" y="6629400"/>
                </a:lnTo>
                <a:lnTo>
                  <a:pt x="5185120" y="6332812"/>
                </a:lnTo>
                <a:lnTo>
                  <a:pt x="5489983" y="6629400"/>
                </a:lnTo>
                <a:lnTo>
                  <a:pt x="5794847" y="6332812"/>
                </a:lnTo>
                <a:lnTo>
                  <a:pt x="6097804" y="6627487"/>
                </a:lnTo>
                <a:lnTo>
                  <a:pt x="6097804" y="1463040"/>
                </a:lnTo>
                <a:lnTo>
                  <a:pt x="6097804" y="0"/>
                </a:lnTo>
                <a:lnTo>
                  <a:pt x="1804" y="0"/>
                </a:lnTo>
                <a:lnTo>
                  <a:pt x="1804" y="1463040"/>
                </a:lnTo>
                <a:lnTo>
                  <a:pt x="0" y="1463040"/>
                </a:lnTo>
                <a:lnTo>
                  <a:pt x="0" y="662702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peedee"/>
              <a:ea typeface="+mn-ea"/>
              <a:cs typeface="+mn-cs"/>
            </a:endParaRPr>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sp>
        <p:nvSpPr>
          <p:cNvPr id="8" name="Graphic 3">
            <a:extLst>
              <a:ext uri="{FF2B5EF4-FFF2-40B4-BE49-F238E27FC236}">
                <a16:creationId xmlns:a16="http://schemas.microsoft.com/office/drawing/2014/main" id="{64E614CC-7161-451C-B27F-99D746FC8F2F}"/>
              </a:ext>
            </a:extLst>
          </p:cNvPr>
          <p:cNvSpPr>
            <a:spLocks/>
          </p:cNvSpPr>
          <p:nvPr/>
        </p:nvSpPr>
        <p:spPr>
          <a:xfrm>
            <a:off x="6092672" y="6263640"/>
            <a:ext cx="6097804"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pic>
        <p:nvPicPr>
          <p:cNvPr id="9" name="Graphic 8">
            <a:extLst>
              <a:ext uri="{FF2B5EF4-FFF2-40B4-BE49-F238E27FC236}">
                <a16:creationId xmlns:a16="http://schemas.microsoft.com/office/drawing/2014/main" id="{B438DE18-F374-442B-82ED-D998FAF4289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4" t="1" r="34344" b="25889"/>
          <a:stretch/>
        </p:blipFill>
        <p:spPr>
          <a:xfrm>
            <a:off x="6964681" y="2148840"/>
            <a:ext cx="5227320" cy="4709160"/>
          </a:xfrm>
          <a:prstGeom prst="rect">
            <a:avLst/>
          </a:prstGeom>
        </p:spPr>
      </p:pic>
    </p:spTree>
    <p:custDataLst>
      <p:tags r:id="rId1"/>
    </p:custDataLst>
    <p:extLst>
      <p:ext uri="{BB962C8B-B14F-4D97-AF65-F5344CB8AC3E}">
        <p14:creationId xmlns:p14="http://schemas.microsoft.com/office/powerpoint/2010/main" val="30523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PhAnim="0">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defRPr sz="2000"/>
            </a:lvl1pPr>
            <a:lvl2pPr algn="l">
              <a:buClr>
                <a:schemeClr val="tx1"/>
              </a:buClr>
              <a:defRPr sz="1800"/>
            </a:lvl2pPr>
            <a:lvl3pPr algn="l">
              <a:buClr>
                <a:schemeClr val="tx1"/>
              </a:buClr>
              <a:defRPr sz="1800"/>
            </a:lvl3pPr>
            <a:lvl4pPr algn="l">
              <a:buClr>
                <a:schemeClr val="tx1"/>
              </a:buClr>
              <a:defRPr sz="1800"/>
            </a:lvl4pPr>
            <a:lvl5pPr algn="l">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B615C9EC-86CF-FA4A-926E-E7D47D3BA853}"/>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fld id="{5DA39392-15B0-4629-9A47-323464680A3D}" type="slidenum">
              <a:rPr lang="en-US" smtClean="0"/>
              <a:t>‹#›</a:t>
            </a:fld>
            <a:endParaRPr lang="en-US"/>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8A94D66E-8A3B-104D-AE0D-B923638D6607}"/>
              </a:ext>
            </a:extLst>
          </p:cNvPr>
          <p:cNvPicPr>
            <a:picLocks noChangeAspect="1"/>
          </p:cNvPicPr>
          <p:nvPr/>
        </p:nvPicPr>
        <p:blipFill rotWithShape="1">
          <a:blip r:embed="rId3"/>
          <a:srcRect l="77777" t="16711" b="12500"/>
          <a:stretch/>
        </p:blipFill>
        <p:spPr>
          <a:xfrm>
            <a:off x="11785600" y="0"/>
            <a:ext cx="325120" cy="6858000"/>
          </a:xfrm>
          <a:prstGeom prst="rect">
            <a:avLst/>
          </a:prstGeom>
        </p:spPr>
      </p:pic>
    </p:spTree>
    <p:custDataLst>
      <p:tags r:id="rId1"/>
    </p:custDataLst>
    <p:extLst>
      <p:ext uri="{BB962C8B-B14F-4D97-AF65-F5344CB8AC3E}">
        <p14:creationId xmlns:p14="http://schemas.microsoft.com/office/powerpoint/2010/main" val="32197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9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p:txBody>
          <a:bodyPr/>
          <a:lstStyle/>
          <a:p>
            <a:r>
              <a:rPr lang="en-US"/>
              <a:t>Click to edit Master title style</a:t>
            </a:r>
            <a:endParaRPr lang="en-US" dirty="0"/>
          </a:p>
        </p:txBody>
      </p:sp>
      <p:sp>
        <p:nvSpPr>
          <p:cNvPr id="4" name="Slide Number Placeholder 4">
            <a:extLst>
              <a:ext uri="{FF2B5EF4-FFF2-40B4-BE49-F238E27FC236}">
                <a16:creationId xmlns:a16="http://schemas.microsoft.com/office/drawing/2014/main" id="{522A316C-52CF-4124-82E7-165BEA62887C}"/>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fld id="{5DA39392-15B0-4629-9A47-323464680A3D}" type="slidenum">
              <a:rPr lang="en-US" smtClean="0"/>
              <a:t>‹#›</a:t>
            </a:fld>
            <a:endParaRPr lang="en-US"/>
          </a:p>
        </p:txBody>
      </p:sp>
      <p:grpSp>
        <p:nvGrpSpPr>
          <p:cNvPr id="5" name="Group 4">
            <a:extLst>
              <a:ext uri="{FF2B5EF4-FFF2-40B4-BE49-F238E27FC236}">
                <a16:creationId xmlns:a16="http://schemas.microsoft.com/office/drawing/2014/main" id="{8E90471E-3BFE-4044-B4E7-E3AD67A880DA}"/>
              </a:ext>
            </a:extLst>
          </p:cNvPr>
          <p:cNvGrpSpPr/>
          <p:nvPr/>
        </p:nvGrpSpPr>
        <p:grpSpPr>
          <a:xfrm>
            <a:off x="-1" y="0"/>
            <a:ext cx="12192001" cy="324000"/>
            <a:chOff x="-1" y="0"/>
            <a:chExt cx="12192001" cy="324000"/>
          </a:xfrm>
        </p:grpSpPr>
        <p:pic>
          <p:nvPicPr>
            <p:cNvPr id="6" name="Picture 5">
              <a:extLst>
                <a:ext uri="{FF2B5EF4-FFF2-40B4-BE49-F238E27FC236}">
                  <a16:creationId xmlns:a16="http://schemas.microsoft.com/office/drawing/2014/main" id="{AF281A20-AEE3-4800-807A-950336D16D87}"/>
                </a:ext>
              </a:extLst>
            </p:cNvPr>
            <p:cNvPicPr>
              <a:picLocks noChangeAspect="1"/>
            </p:cNvPicPr>
            <p:nvPr/>
          </p:nvPicPr>
          <p:blipFill rotWithShape="1">
            <a:blip r:embed="rId3"/>
            <a:srcRect l="4337" t="32863" r="4811" b="1"/>
            <a:stretch/>
          </p:blipFill>
          <p:spPr>
            <a:xfrm>
              <a:off x="7595413" y="0"/>
              <a:ext cx="4596587" cy="324000"/>
            </a:xfrm>
            <a:prstGeom prst="rect">
              <a:avLst/>
            </a:prstGeom>
          </p:spPr>
        </p:pic>
        <p:pic>
          <p:nvPicPr>
            <p:cNvPr id="7" name="Picture 6">
              <a:extLst>
                <a:ext uri="{FF2B5EF4-FFF2-40B4-BE49-F238E27FC236}">
                  <a16:creationId xmlns:a16="http://schemas.microsoft.com/office/drawing/2014/main" id="{25167EA9-E68A-4EAE-9FD1-B10D9C07EB57}"/>
                </a:ext>
              </a:extLst>
            </p:cNvPr>
            <p:cNvPicPr>
              <a:picLocks noChangeAspect="1"/>
            </p:cNvPicPr>
            <p:nvPr/>
          </p:nvPicPr>
          <p:blipFill rotWithShape="1">
            <a:blip r:embed="rId3"/>
            <a:srcRect l="4337" t="32863" r="40144" b="19439"/>
            <a:stretch/>
          </p:blipFill>
          <p:spPr>
            <a:xfrm>
              <a:off x="-1" y="0"/>
              <a:ext cx="7620581" cy="230188"/>
            </a:xfrm>
            <a:prstGeom prst="rect">
              <a:avLst/>
            </a:prstGeom>
          </p:spPr>
        </p:pic>
      </p:grpSp>
    </p:spTree>
    <p:custDataLst>
      <p:tags r:id="rId1"/>
    </p:custDataLst>
    <p:extLst>
      <p:ext uri="{BB962C8B-B14F-4D97-AF65-F5344CB8AC3E}">
        <p14:creationId xmlns:p14="http://schemas.microsoft.com/office/powerpoint/2010/main" val="48911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cSld name="Title Slide Left with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1341755" y="2743200"/>
            <a:ext cx="5622925" cy="1417320"/>
          </a:xfrm>
        </p:spPr>
        <p:txBody>
          <a:bodyPr anchor="ctr" anchorCtr="0"/>
          <a:lstStyle>
            <a:lvl1pPr algn="l">
              <a:lnSpc>
                <a:spcPct val="90000"/>
              </a:lnSpc>
              <a:defRPr sz="4400">
                <a:solidFill>
                  <a:schemeClr val="tx1"/>
                </a:solidFill>
              </a:defRPr>
            </a:lvl1pPr>
          </a:lstStyle>
          <a:p>
            <a:r>
              <a:rPr lang="en-US" dirty="0"/>
              <a:t>Click to edit Master Title style</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a:srcRect l="18750" t="16711" b="12500"/>
          <a:stretch/>
        </p:blipFill>
        <p:spPr>
          <a:xfrm>
            <a:off x="-30480" y="0"/>
            <a:ext cx="1188720" cy="6858000"/>
          </a:xfrm>
          <a:prstGeom prst="rect">
            <a:avLst/>
          </a:prstGeom>
        </p:spPr>
      </p:pic>
    </p:spTree>
    <p:custDataLst>
      <p:tags r:id="rId1"/>
    </p:custDataLst>
    <p:extLst>
      <p:ext uri="{BB962C8B-B14F-4D97-AF65-F5344CB8AC3E}">
        <p14:creationId xmlns:p14="http://schemas.microsoft.com/office/powerpoint/2010/main" val="125715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sp>
        <p:nvSpPr>
          <p:cNvPr id="7" name="Graphic 3">
            <a:extLst>
              <a:ext uri="{FF2B5EF4-FFF2-40B4-BE49-F238E27FC236}">
                <a16:creationId xmlns:a16="http://schemas.microsoft.com/office/drawing/2014/main" id="{0A1FDE5F-F5CC-4845-944B-48A25DC07EF0}"/>
              </a:ext>
            </a:extLst>
          </p:cNvPr>
          <p:cNvSpPr>
            <a:spLocks/>
          </p:cNvSpPr>
          <p:nvPr/>
        </p:nvSpPr>
        <p:spPr>
          <a:xfrm>
            <a:off x="0" y="5212080"/>
            <a:ext cx="12188952" cy="164592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pic>
        <p:nvPicPr>
          <p:cNvPr id="3" name="Graphic 2">
            <a:extLst>
              <a:ext uri="{FF2B5EF4-FFF2-40B4-BE49-F238E27FC236}">
                <a16:creationId xmlns:a16="http://schemas.microsoft.com/office/drawing/2014/main" id="{B5599F8E-9667-459C-A7EF-093C0C24B0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0698" y="0"/>
            <a:ext cx="3921752" cy="6527737"/>
          </a:xfrm>
          <a:prstGeom prst="rect">
            <a:avLst/>
          </a:prstGeom>
        </p:spPr>
      </p:pic>
    </p:spTree>
    <p:custDataLst>
      <p:tags r:id="rId1"/>
    </p:custDataLst>
    <p:extLst>
      <p:ext uri="{BB962C8B-B14F-4D97-AF65-F5344CB8AC3E}">
        <p14:creationId xmlns:p14="http://schemas.microsoft.com/office/powerpoint/2010/main" val="39591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10">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E383472-5454-443F-B162-B33D709117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11521439"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25581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sp>
        <p:nvSpPr>
          <p:cNvPr id="6" name="Graphic 3">
            <a:extLst>
              <a:ext uri="{FF2B5EF4-FFF2-40B4-BE49-F238E27FC236}">
                <a16:creationId xmlns:a16="http://schemas.microsoft.com/office/drawing/2014/main" id="{9F6F5170-03E0-4F11-AD88-551021EC7DEF}"/>
              </a:ext>
            </a:extLst>
          </p:cNvPr>
          <p:cNvSpPr>
            <a:spLocks/>
          </p:cNvSpPr>
          <p:nvPr/>
        </p:nvSpPr>
        <p:spPr>
          <a:xfrm>
            <a:off x="6096000" y="0"/>
            <a:ext cx="6094476" cy="685800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pic>
        <p:nvPicPr>
          <p:cNvPr id="5" name="Graphic 4">
            <a:extLst>
              <a:ext uri="{FF2B5EF4-FFF2-40B4-BE49-F238E27FC236}">
                <a16:creationId xmlns:a16="http://schemas.microsoft.com/office/drawing/2014/main" id="{ABDF2A30-DAEF-4E68-9D46-A16C728E722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74533" b="57798"/>
          <a:stretch/>
        </p:blipFill>
        <p:spPr>
          <a:xfrm>
            <a:off x="7700220" y="914400"/>
            <a:ext cx="4491780" cy="5943600"/>
          </a:xfrm>
          <a:prstGeom prst="rect">
            <a:avLst/>
          </a:prstGeom>
        </p:spPr>
      </p:pic>
    </p:spTree>
    <p:custDataLst>
      <p:tags r:id="rId1"/>
    </p:custDataLst>
    <p:extLst>
      <p:ext uri="{BB962C8B-B14F-4D97-AF65-F5344CB8AC3E}">
        <p14:creationId xmlns:p14="http://schemas.microsoft.com/office/powerpoint/2010/main" val="206362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alfsi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91634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Halfsi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48640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9000"/>
            <a:ext cx="5486400"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9775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00B4D03-7691-4843-8ADC-98DB675CE03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reeform: Shape 14">
            <a:extLst>
              <a:ext uri="{FF2B5EF4-FFF2-40B4-BE49-F238E27FC236}">
                <a16:creationId xmlns:a16="http://schemas.microsoft.com/office/drawing/2014/main" id="{03B22C15-7EC6-4021-AD3F-B561260F355A}"/>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13046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2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52C1C68-0BE4-4BD4-B4AB-0C9493C17F82}"/>
              </a:ext>
            </a:extLst>
          </p:cNvPr>
          <p:cNvSpPr>
            <a:spLocks noGrp="1"/>
          </p:cNvSpPr>
          <p:nvPr>
            <p:ph sz="quarter" idx="10"/>
          </p:nvPr>
        </p:nvSpPr>
        <p:spPr>
          <a:xfrm>
            <a:off x="334962" y="1235075"/>
            <a:ext cx="54864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9">
            <a:extLst>
              <a:ext uri="{FF2B5EF4-FFF2-40B4-BE49-F238E27FC236}">
                <a16:creationId xmlns:a16="http://schemas.microsoft.com/office/drawing/2014/main" id="{97414ACF-E6E1-45E5-8EE2-D495C7FC11AF}"/>
              </a:ext>
            </a:extLst>
          </p:cNvPr>
          <p:cNvSpPr>
            <a:spLocks noGrp="1"/>
          </p:cNvSpPr>
          <p:nvPr>
            <p:ph sz="quarter" idx="11"/>
          </p:nvPr>
        </p:nvSpPr>
        <p:spPr>
          <a:xfrm>
            <a:off x="6370320" y="1235075"/>
            <a:ext cx="54864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Shape 11">
            <a:extLst>
              <a:ext uri="{FF2B5EF4-FFF2-40B4-BE49-F238E27FC236}">
                <a16:creationId xmlns:a16="http://schemas.microsoft.com/office/drawing/2014/main" id="{51D42FBD-6323-4A31-AF80-88838F4246B6}"/>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8941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3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5B21A2B-35BD-410F-9AAB-71DFDFC64FEB}"/>
              </a:ext>
            </a:extLst>
          </p:cNvPr>
          <p:cNvSpPr>
            <a:spLocks noGrp="1"/>
          </p:cNvSpPr>
          <p:nvPr>
            <p:ph sz="quarter" idx="10"/>
          </p:nvPr>
        </p:nvSpPr>
        <p:spPr>
          <a:xfrm>
            <a:off x="334962"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9">
            <a:extLst>
              <a:ext uri="{FF2B5EF4-FFF2-40B4-BE49-F238E27FC236}">
                <a16:creationId xmlns:a16="http://schemas.microsoft.com/office/drawing/2014/main" id="{E1FDE994-B156-4570-A031-139DD0557979}"/>
              </a:ext>
            </a:extLst>
          </p:cNvPr>
          <p:cNvSpPr>
            <a:spLocks noGrp="1"/>
          </p:cNvSpPr>
          <p:nvPr>
            <p:ph sz="quarter" idx="11"/>
          </p:nvPr>
        </p:nvSpPr>
        <p:spPr>
          <a:xfrm>
            <a:off x="4267200"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9">
            <a:extLst>
              <a:ext uri="{FF2B5EF4-FFF2-40B4-BE49-F238E27FC236}">
                <a16:creationId xmlns:a16="http://schemas.microsoft.com/office/drawing/2014/main" id="{92B91E1A-CCE9-4D10-A61F-184C0847C69F}"/>
              </a:ext>
            </a:extLst>
          </p:cNvPr>
          <p:cNvSpPr>
            <a:spLocks noGrp="1"/>
          </p:cNvSpPr>
          <p:nvPr>
            <p:ph sz="quarter" idx="12"/>
          </p:nvPr>
        </p:nvSpPr>
        <p:spPr>
          <a:xfrm>
            <a:off x="8199120"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reeform: Shape 12">
            <a:extLst>
              <a:ext uri="{FF2B5EF4-FFF2-40B4-BE49-F238E27FC236}">
                <a16:creationId xmlns:a16="http://schemas.microsoft.com/office/drawing/2014/main" id="{3360295B-F6FA-4FAF-814B-9BFEFD489A84}"/>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4" name="Graphic 13">
            <a:extLst>
              <a:ext uri="{FF2B5EF4-FFF2-40B4-BE49-F238E27FC236}">
                <a16:creationId xmlns:a16="http://schemas.microsoft.com/office/drawing/2014/main" id="{129DBC58-1033-4F8F-81C4-678D1A47381F}"/>
              </a:ext>
            </a:extLst>
          </p:cNvPr>
          <p:cNvSpPr>
            <a:spLocks noChangeAspect="1"/>
          </p:cNvSpPr>
          <p:nvPr/>
        </p:nvSpPr>
        <p:spPr>
          <a:xfrm>
            <a:off x="10204532" y="6355080"/>
            <a:ext cx="1332148" cy="502920"/>
          </a:xfrm>
          <a:custGeom>
            <a:avLst/>
            <a:gdLst>
              <a:gd name="connsiteX0" fmla="*/ 1342918 w 1343247"/>
              <a:gd name="connsiteY0" fmla="*/ 37719 h 507110"/>
              <a:gd name="connsiteX1" fmla="*/ 1310787 w 1343247"/>
              <a:gd name="connsiteY1" fmla="*/ 0 h 507110"/>
              <a:gd name="connsiteX2" fmla="*/ 705886 w 1343247"/>
              <a:gd name="connsiteY2" fmla="*/ 0 h 507110"/>
              <a:gd name="connsiteX3" fmla="*/ 4592 w 1343247"/>
              <a:gd name="connsiteY3" fmla="*/ 494538 h 507110"/>
              <a:gd name="connsiteX4" fmla="*/ 5989 w 1343247"/>
              <a:gd name="connsiteY4" fmla="*/ 507111 h 507110"/>
              <a:gd name="connsiteX5" fmla="*/ 781324 w 1343247"/>
              <a:gd name="connsiteY5" fmla="*/ 507111 h 507110"/>
              <a:gd name="connsiteX6" fmla="*/ 1342918 w 1343247"/>
              <a:gd name="connsiteY6" fmla="*/ 37719 h 50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247" h="507110">
                <a:moveTo>
                  <a:pt x="1342918" y="37719"/>
                </a:moveTo>
                <a:cubicBezTo>
                  <a:pt x="1345712" y="18161"/>
                  <a:pt x="1330345" y="0"/>
                  <a:pt x="1310787" y="0"/>
                </a:cubicBezTo>
                <a:lnTo>
                  <a:pt x="705886" y="0"/>
                </a:lnTo>
                <a:cubicBezTo>
                  <a:pt x="229509" y="0"/>
                  <a:pt x="323108" y="409321"/>
                  <a:pt x="4592" y="494538"/>
                </a:cubicBezTo>
                <a:cubicBezTo>
                  <a:pt x="-2393" y="495935"/>
                  <a:pt x="-996" y="507111"/>
                  <a:pt x="5989" y="507111"/>
                </a:cubicBezTo>
                <a:lnTo>
                  <a:pt x="781324" y="507111"/>
                </a:lnTo>
                <a:cubicBezTo>
                  <a:pt x="1024402" y="507111"/>
                  <a:pt x="1301008" y="333883"/>
                  <a:pt x="1342918" y="37719"/>
                </a:cubicBezTo>
                <a:close/>
              </a:path>
            </a:pathLst>
          </a:custGeom>
          <a:solidFill>
            <a:srgbClr val="C8161D"/>
          </a:solidFill>
          <a:ln w="1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171048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2">
    <p:spTree>
      <p:nvGrpSpPr>
        <p:cNvPr id="1" name=""/>
        <p:cNvGrpSpPr/>
        <p:nvPr/>
      </p:nvGrpSpPr>
      <p:grpSpPr>
        <a:xfrm>
          <a:off x="0" y="0"/>
          <a:ext cx="0" cy="0"/>
          <a:chOff x="0" y="0"/>
          <a:chExt cx="0" cy="0"/>
        </a:xfrm>
      </p:grpSpPr>
      <p:sp>
        <p:nvSpPr>
          <p:cNvPr id="7" name="Graphic 3">
            <a:extLst>
              <a:ext uri="{FF2B5EF4-FFF2-40B4-BE49-F238E27FC236}">
                <a16:creationId xmlns:a16="http://schemas.microsoft.com/office/drawing/2014/main" id="{4D4F4101-10C5-4019-90A9-11F504117E2C}"/>
              </a:ext>
            </a:extLst>
          </p:cNvPr>
          <p:cNvSpPr>
            <a:spLocks/>
          </p:cNvSpPr>
          <p:nvPr/>
        </p:nvSpPr>
        <p:spPr>
          <a:xfrm>
            <a:off x="1524" y="6263640"/>
            <a:ext cx="12188952"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pic>
        <p:nvPicPr>
          <p:cNvPr id="8" name="Graphic 7">
            <a:extLst>
              <a:ext uri="{FF2B5EF4-FFF2-40B4-BE49-F238E27FC236}">
                <a16:creationId xmlns:a16="http://schemas.microsoft.com/office/drawing/2014/main" id="{667B3453-D9F6-43AF-B722-4CCF6B26FB3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 r="35592" b="23725"/>
          <a:stretch/>
        </p:blipFill>
        <p:spPr>
          <a:xfrm>
            <a:off x="5379721" y="416321"/>
            <a:ext cx="6812279" cy="644168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76072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8999"/>
            <a:ext cx="5760720" cy="3200399"/>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26473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80961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lvl1pPr algn="ctr">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4389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1524000" y="228600"/>
            <a:ext cx="9144000" cy="6400799"/>
          </a:xfrm>
        </p:spPr>
        <p:txBody>
          <a:bodyPr anchor="ctr" anchorCtr="1"/>
          <a:lstStyle>
            <a:lvl1pPr algn="l">
              <a:lnSpc>
                <a:spcPct val="100000"/>
              </a:lnSpc>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46307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2438400" y="228600"/>
            <a:ext cx="7315200" cy="6400799"/>
          </a:xfrm>
        </p:spPr>
        <p:txBody>
          <a:bodyPr anchor="ctr" anchorCtr="1"/>
          <a:lstStyle>
            <a:lvl1pPr algn="ctr">
              <a:lnSpc>
                <a:spcPct val="100000"/>
              </a:lnSpc>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8252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2438400" y="228600"/>
            <a:ext cx="7315200" cy="6400799"/>
          </a:xfrm>
        </p:spPr>
        <p:txBody>
          <a:bodyPr anchor="ctr" anchorCtr="1"/>
          <a:lstStyle>
            <a:lvl1pPr algn="ctr">
              <a:lnSpc>
                <a:spcPct val="100000"/>
              </a:lnSpc>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14139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13790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7DD7EE2F-56DA-4FC6-9605-07FD606C55AE}"/>
              </a:ext>
            </a:extLst>
          </p:cNvPr>
          <p:cNvSpPr/>
          <p:nvPr/>
        </p:nvSpPr>
        <p:spPr>
          <a:xfrm>
            <a:off x="0" y="0"/>
            <a:ext cx="12192000" cy="6858000"/>
          </a:xfrm>
          <a:custGeom>
            <a:avLst/>
            <a:gdLst>
              <a:gd name="connsiteX0" fmla="*/ 244475 w 12192000"/>
              <a:gd name="connsiteY0" fmla="*/ 228600 h 6858000"/>
              <a:gd name="connsiteX1" fmla="*/ 244475 w 12192000"/>
              <a:gd name="connsiteY1" fmla="*/ 6629400 h 6858000"/>
              <a:gd name="connsiteX2" fmla="*/ 11947525 w 12192000"/>
              <a:gd name="connsiteY2" fmla="*/ 6629400 h 6858000"/>
              <a:gd name="connsiteX3" fmla="*/ 11947525 w 12192000"/>
              <a:gd name="connsiteY3" fmla="*/ 228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4475" y="228600"/>
                </a:moveTo>
                <a:lnTo>
                  <a:pt x="244475" y="6629400"/>
                </a:lnTo>
                <a:lnTo>
                  <a:pt x="11947525" y="6629400"/>
                </a:lnTo>
                <a:lnTo>
                  <a:pt x="11947525" y="228600"/>
                </a:lnTo>
                <a:close/>
                <a:moveTo>
                  <a:pt x="0" y="0"/>
                </a:moveTo>
                <a:lnTo>
                  <a:pt x="12192000" y="0"/>
                </a:lnTo>
                <a:lnTo>
                  <a:pt x="12192000"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76996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3">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C329411-F38A-4621-B822-B1D93BFA34B6}"/>
              </a:ext>
            </a:extLst>
          </p:cNvPr>
          <p:cNvGrpSpPr/>
          <p:nvPr/>
        </p:nvGrpSpPr>
        <p:grpSpPr>
          <a:xfrm>
            <a:off x="0" y="0"/>
            <a:ext cx="12192000" cy="6858000"/>
            <a:chOff x="0" y="0"/>
            <a:chExt cx="12192000" cy="6858000"/>
          </a:xfrm>
        </p:grpSpPr>
        <p:sp>
          <p:nvSpPr>
            <p:cNvPr id="7" name="Freeform: Shape 6">
              <a:extLst>
                <a:ext uri="{FF2B5EF4-FFF2-40B4-BE49-F238E27FC236}">
                  <a16:creationId xmlns:a16="http://schemas.microsoft.com/office/drawing/2014/main" id="{F0FF2E7B-84E2-4B03-8B74-F89D93D3029A}"/>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1948160 w 12192000"/>
                <a:gd name="connsiteY3" fmla="*/ 6858000 h 6858000"/>
                <a:gd name="connsiteX4" fmla="*/ 11948160 w 12192000"/>
                <a:gd name="connsiteY4" fmla="*/ 5623560 h 6858000"/>
                <a:gd name="connsiteX5" fmla="*/ 11947525 w 12192000"/>
                <a:gd name="connsiteY5" fmla="*/ 5623560 h 6858000"/>
                <a:gd name="connsiteX6" fmla="*/ 11947525 w 12192000"/>
                <a:gd name="connsiteY6" fmla="*/ 228600 h 6858000"/>
                <a:gd name="connsiteX7" fmla="*/ 244475 w 12192000"/>
                <a:gd name="connsiteY7" fmla="*/ 228600 h 6858000"/>
                <a:gd name="connsiteX8" fmla="*/ 244475 w 12192000"/>
                <a:gd name="connsiteY8" fmla="*/ 6629400 h 6858000"/>
                <a:gd name="connsiteX9" fmla="*/ 10759440 w 12192000"/>
                <a:gd name="connsiteY9" fmla="*/ 6629400 h 6858000"/>
                <a:gd name="connsiteX10" fmla="*/ 10759440 w 12192000"/>
                <a:gd name="connsiteY10" fmla="*/ 6858000 h 6858000"/>
                <a:gd name="connsiteX11" fmla="*/ 0 w 12192000"/>
                <a:gd name="connsiteY11" fmla="*/ 6858000 h 6858000"/>
                <a:gd name="connsiteX12" fmla="*/ 0 w 12192000"/>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0" y="0"/>
                  </a:moveTo>
                  <a:lnTo>
                    <a:pt x="12192000" y="0"/>
                  </a:lnTo>
                  <a:lnTo>
                    <a:pt x="12192000" y="6858000"/>
                  </a:lnTo>
                  <a:lnTo>
                    <a:pt x="11948160" y="6858000"/>
                  </a:lnTo>
                  <a:lnTo>
                    <a:pt x="11948160" y="5623560"/>
                  </a:lnTo>
                  <a:lnTo>
                    <a:pt x="11947525" y="5623560"/>
                  </a:lnTo>
                  <a:lnTo>
                    <a:pt x="11947525" y="228600"/>
                  </a:lnTo>
                  <a:lnTo>
                    <a:pt x="244475" y="228600"/>
                  </a:lnTo>
                  <a:lnTo>
                    <a:pt x="244475" y="6629400"/>
                  </a:lnTo>
                  <a:lnTo>
                    <a:pt x="10759440" y="6629400"/>
                  </a:lnTo>
                  <a:lnTo>
                    <a:pt x="10759440"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peedee"/>
                <a:ea typeface="+mn-ea"/>
                <a:cs typeface="+mn-cs"/>
              </a:endParaRPr>
            </a:p>
          </p:txBody>
        </p:sp>
        <p:sp>
          <p:nvSpPr>
            <p:cNvPr id="8" name="Graphic 10">
              <a:extLst>
                <a:ext uri="{FF2B5EF4-FFF2-40B4-BE49-F238E27FC236}">
                  <a16:creationId xmlns:a16="http://schemas.microsoft.com/office/drawing/2014/main" id="{4018B138-26D4-4E7D-A0DC-6D616584598B}"/>
                </a:ext>
              </a:extLst>
            </p:cNvPr>
            <p:cNvSpPr>
              <a:spLocks noChangeAspect="1"/>
            </p:cNvSpPr>
            <p:nvPr/>
          </p:nvSpPr>
          <p:spPr>
            <a:xfrm>
              <a:off x="10439400" y="6629400"/>
              <a:ext cx="617220" cy="228600"/>
            </a:xfrm>
            <a:custGeom>
              <a:avLst/>
              <a:gdLst>
                <a:gd name="connsiteX0" fmla="*/ 772368 w 771525"/>
                <a:gd name="connsiteY0" fmla="*/ 269558 h 285750"/>
                <a:gd name="connsiteX1" fmla="*/ 753318 w 771525"/>
                <a:gd name="connsiteY1" fmla="*/ 291465 h 285750"/>
                <a:gd name="connsiteX2" fmla="*/ 406608 w 771525"/>
                <a:gd name="connsiteY2" fmla="*/ 291465 h 285750"/>
                <a:gd name="connsiteX3" fmla="*/ 2748 w 771525"/>
                <a:gd name="connsiteY3" fmla="*/ 6668 h 285750"/>
                <a:gd name="connsiteX4" fmla="*/ 3701 w 771525"/>
                <a:gd name="connsiteY4" fmla="*/ 0 h 285750"/>
                <a:gd name="connsiteX5" fmla="*/ 450423 w 771525"/>
                <a:gd name="connsiteY5" fmla="*/ 0 h 285750"/>
                <a:gd name="connsiteX6" fmla="*/ 772368 w 771525"/>
                <a:gd name="connsiteY6" fmla="*/ 26955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525" h="285750">
                  <a:moveTo>
                    <a:pt x="772368" y="269558"/>
                  </a:moveTo>
                  <a:cubicBezTo>
                    <a:pt x="774273" y="280988"/>
                    <a:pt x="764748" y="291465"/>
                    <a:pt x="753318" y="291465"/>
                  </a:cubicBezTo>
                  <a:lnTo>
                    <a:pt x="406608" y="291465"/>
                  </a:lnTo>
                  <a:cubicBezTo>
                    <a:pt x="131336" y="291465"/>
                    <a:pt x="185628" y="56198"/>
                    <a:pt x="2748" y="6668"/>
                  </a:cubicBezTo>
                  <a:cubicBezTo>
                    <a:pt x="-1062" y="5715"/>
                    <a:pt x="-1062" y="0"/>
                    <a:pt x="3701" y="0"/>
                  </a:cubicBezTo>
                  <a:lnTo>
                    <a:pt x="450423" y="0"/>
                  </a:lnTo>
                  <a:cubicBezTo>
                    <a:pt x="589488" y="0"/>
                    <a:pt x="748556" y="99060"/>
                    <a:pt x="772368" y="269558"/>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grpSp>
    </p:spTree>
    <p:custDataLst>
      <p:tags r:id="rId1"/>
    </p:custDataLst>
    <p:extLst>
      <p:ext uri="{BB962C8B-B14F-4D97-AF65-F5344CB8AC3E}">
        <p14:creationId xmlns:p14="http://schemas.microsoft.com/office/powerpoint/2010/main" val="377151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e 1">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FAF2E-865B-8144-BE35-713D54848982}"/>
              </a:ext>
            </a:extLst>
          </p:cNvPr>
          <p:cNvSpPr>
            <a:spLocks noGrp="1"/>
          </p:cNvSpPr>
          <p:nvPr>
            <p:ph type="title"/>
          </p:nvPr>
        </p:nvSpPr>
        <p:spPr>
          <a:xfrm>
            <a:off x="334963" y="4572000"/>
            <a:ext cx="11522076" cy="1097280"/>
          </a:xfrm>
          <a:prstGeom prst="rect">
            <a:avLst/>
          </a:prstGeom>
        </p:spPr>
        <p:txBody>
          <a:bodyPr/>
          <a:lstStyle>
            <a:lvl1pPr algn="ctr">
              <a:defRPr sz="4000" b="1">
                <a:solidFill>
                  <a:schemeClr val="bg1"/>
                </a:solidFill>
                <a:latin typeface="Speedee" panose="020B0603030502020204" pitchFamily="34" charset="0"/>
              </a:defRPr>
            </a:lvl1pPr>
          </a:lstStyle>
          <a:p>
            <a:r>
              <a:rPr lang="en-US"/>
              <a:t>Click to edit Master title style</a:t>
            </a:r>
            <a:endParaRPr lang="en-US" dirty="0"/>
          </a:p>
        </p:txBody>
      </p:sp>
      <p:sp>
        <p:nvSpPr>
          <p:cNvPr id="6" name="Graphic 4">
            <a:extLst>
              <a:ext uri="{FF2B5EF4-FFF2-40B4-BE49-F238E27FC236}">
                <a16:creationId xmlns:a16="http://schemas.microsoft.com/office/drawing/2014/main" id="{C3921F8B-7D89-4D3C-A0B7-A4A5676B0457}"/>
              </a:ext>
            </a:extLst>
          </p:cNvPr>
          <p:cNvSpPr/>
          <p:nvPr/>
        </p:nvSpPr>
        <p:spPr>
          <a:xfrm>
            <a:off x="3166291" y="1654806"/>
            <a:ext cx="5851803" cy="2538743"/>
          </a:xfrm>
          <a:custGeom>
            <a:avLst/>
            <a:gdLst>
              <a:gd name="connsiteX0" fmla="*/ 5045752 w 5851802"/>
              <a:gd name="connsiteY0" fmla="*/ 0 h 2538742"/>
              <a:gd name="connsiteX1" fmla="*/ 4895966 w 5851802"/>
              <a:gd name="connsiteY1" fmla="*/ 313535 h 2538742"/>
              <a:gd name="connsiteX2" fmla="*/ 5156187 w 5851802"/>
              <a:gd name="connsiteY2" fmla="*/ 427778 h 2538742"/>
              <a:gd name="connsiteX3" fmla="*/ 2929710 w 5851802"/>
              <a:gd name="connsiteY3" fmla="*/ 1942138 h 2538742"/>
              <a:gd name="connsiteX4" fmla="*/ 704501 w 5851802"/>
              <a:gd name="connsiteY4" fmla="*/ 426509 h 2538742"/>
              <a:gd name="connsiteX5" fmla="*/ 964722 w 5851802"/>
              <a:gd name="connsiteY5" fmla="*/ 312265 h 2538742"/>
              <a:gd name="connsiteX6" fmla="*/ 814937 w 5851802"/>
              <a:gd name="connsiteY6" fmla="*/ 0 h 2538742"/>
              <a:gd name="connsiteX7" fmla="*/ 0 w 5851802"/>
              <a:gd name="connsiteY7" fmla="*/ 371926 h 2538742"/>
              <a:gd name="connsiteX8" fmla="*/ 144708 w 5851802"/>
              <a:gd name="connsiteY8" fmla="*/ 680383 h 2538742"/>
              <a:gd name="connsiteX9" fmla="*/ 435394 w 5851802"/>
              <a:gd name="connsiteY9" fmla="*/ 545830 h 2538742"/>
              <a:gd name="connsiteX10" fmla="*/ 2929710 w 5851802"/>
              <a:gd name="connsiteY10" fmla="*/ 2546359 h 2538742"/>
              <a:gd name="connsiteX11" fmla="*/ 5425294 w 5851802"/>
              <a:gd name="connsiteY11" fmla="*/ 545830 h 2538742"/>
              <a:gd name="connsiteX12" fmla="*/ 5715980 w 5851802"/>
              <a:gd name="connsiteY12" fmla="*/ 680383 h 2538742"/>
              <a:gd name="connsiteX13" fmla="*/ 5860688 w 5851802"/>
              <a:gd name="connsiteY13" fmla="*/ 371926 h 2538742"/>
              <a:gd name="connsiteX14" fmla="*/ 5045752 w 5851802"/>
              <a:gd name="connsiteY14" fmla="*/ 0 h 253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1802" h="2538742">
                <a:moveTo>
                  <a:pt x="5045752" y="0"/>
                </a:moveTo>
                <a:lnTo>
                  <a:pt x="4895966" y="313535"/>
                </a:lnTo>
                <a:lnTo>
                  <a:pt x="5156187" y="427778"/>
                </a:lnTo>
                <a:cubicBezTo>
                  <a:pt x="4774106" y="1535939"/>
                  <a:pt x="3698949" y="1942138"/>
                  <a:pt x="2929710" y="1942138"/>
                </a:cubicBezTo>
                <a:cubicBezTo>
                  <a:pt x="2160470" y="1942138"/>
                  <a:pt x="1086582" y="1535939"/>
                  <a:pt x="704501" y="426509"/>
                </a:cubicBezTo>
                <a:lnTo>
                  <a:pt x="964722" y="312265"/>
                </a:lnTo>
                <a:lnTo>
                  <a:pt x="814937" y="0"/>
                </a:lnTo>
                <a:lnTo>
                  <a:pt x="0" y="371926"/>
                </a:lnTo>
                <a:lnTo>
                  <a:pt x="144708" y="680383"/>
                </a:lnTo>
                <a:lnTo>
                  <a:pt x="435394" y="545830"/>
                </a:lnTo>
                <a:cubicBezTo>
                  <a:pt x="586450" y="1120855"/>
                  <a:pt x="1375999" y="2546359"/>
                  <a:pt x="2929710" y="2546359"/>
                </a:cubicBezTo>
                <a:cubicBezTo>
                  <a:pt x="4483420" y="2546359"/>
                  <a:pt x="5274239" y="1120855"/>
                  <a:pt x="5425294" y="545830"/>
                </a:cubicBezTo>
                <a:lnTo>
                  <a:pt x="5715980" y="680383"/>
                </a:lnTo>
                <a:lnTo>
                  <a:pt x="5860688" y="371926"/>
                </a:lnTo>
                <a:lnTo>
                  <a:pt x="5045752" y="0"/>
                </a:lnTo>
                <a:close/>
              </a:path>
            </a:pathLst>
          </a:custGeom>
          <a:solidFill>
            <a:schemeClr val="accent1"/>
          </a:solidFill>
          <a:ln w="126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5175909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4962" y="1600200"/>
            <a:ext cx="11522076" cy="1828800"/>
          </a:xfrm>
        </p:spPr>
        <p:txBody>
          <a:bodyPr lIns="91440" rIns="91440" anchor="b">
            <a:noAutofit/>
          </a:bodyPr>
          <a:lstStyle>
            <a:lvl1pPr algn="ctr">
              <a:defRPr sz="4000">
                <a:solidFill>
                  <a:schemeClr val="bg1">
                    <a:lumMod val="50000"/>
                  </a:schemeClr>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4962" y="3429000"/>
            <a:ext cx="11522076" cy="1828800"/>
          </a:xfrm>
        </p:spPr>
        <p:txBody>
          <a:bodyPr lIns="137160" tIns="182880" rIns="137160" bIns="182880" anchor="t" anchorCtr="1"/>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490787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95532DA-6405-471A-924F-9BD6A6B1F35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74533" b="57798"/>
          <a:stretch/>
        </p:blipFill>
        <p:spPr>
          <a:xfrm>
            <a:off x="7700220" y="914400"/>
            <a:ext cx="4491780" cy="594360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79" y="228600"/>
            <a:ext cx="7791133"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79" y="3429000"/>
            <a:ext cx="7791133"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145989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defRPr sz="2000"/>
            </a:lvl1pPr>
            <a:lvl2pPr algn="l">
              <a:buClr>
                <a:schemeClr val="tx1"/>
              </a:buClr>
              <a:defRPr sz="1800"/>
            </a:lvl2pPr>
            <a:lvl3pPr algn="l">
              <a:buClr>
                <a:schemeClr val="tx1"/>
              </a:buClr>
              <a:defRPr sz="1800"/>
            </a:lvl3pPr>
            <a:lvl4pPr algn="l">
              <a:buClr>
                <a:schemeClr val="tx1"/>
              </a:buClr>
              <a:defRPr sz="1800"/>
            </a:lvl4pPr>
            <a:lvl5pPr algn="l">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B615C9EC-86CF-FA4A-926E-E7D47D3BA853}"/>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5DA39392-15B0-4629-9A47-323464680A3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peedee"/>
              <a:ea typeface="+mn-ea"/>
              <a:cs typeface="+mn-cs"/>
            </a:endParaRPr>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8A94D66E-8A3B-104D-AE0D-B923638D6607}"/>
              </a:ext>
            </a:extLst>
          </p:cNvPr>
          <p:cNvPicPr>
            <a:picLocks noChangeAspect="1"/>
          </p:cNvPicPr>
          <p:nvPr/>
        </p:nvPicPr>
        <p:blipFill rotWithShape="1">
          <a:blip r:embed="rId3"/>
          <a:srcRect l="77777" t="16711" b="12500"/>
          <a:stretch/>
        </p:blipFill>
        <p:spPr>
          <a:xfrm>
            <a:off x="11785600" y="0"/>
            <a:ext cx="325120" cy="6858000"/>
          </a:xfrm>
          <a:prstGeom prst="rect">
            <a:avLst/>
          </a:prstGeom>
        </p:spPr>
      </p:pic>
    </p:spTree>
    <p:custDataLst>
      <p:tags r:id="rId1"/>
    </p:custDataLst>
    <p:extLst>
      <p:ext uri="{BB962C8B-B14F-4D97-AF65-F5344CB8AC3E}">
        <p14:creationId xmlns:p14="http://schemas.microsoft.com/office/powerpoint/2010/main" val="212122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9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p:txBody>
          <a:bodyPr/>
          <a:lstStyle/>
          <a:p>
            <a:r>
              <a:rPr lang="en-US"/>
              <a:t>Click to edit Master title style</a:t>
            </a:r>
            <a:endParaRPr lang="en-US" dirty="0"/>
          </a:p>
        </p:txBody>
      </p:sp>
      <p:sp>
        <p:nvSpPr>
          <p:cNvPr id="4" name="Slide Number Placeholder 4">
            <a:extLst>
              <a:ext uri="{FF2B5EF4-FFF2-40B4-BE49-F238E27FC236}">
                <a16:creationId xmlns:a16="http://schemas.microsoft.com/office/drawing/2014/main" id="{522A316C-52CF-4124-82E7-165BEA62887C}"/>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DA39392-15B0-4629-9A47-323464680A3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peedee"/>
              <a:ea typeface="+mn-ea"/>
              <a:cs typeface="+mn-cs"/>
            </a:endParaRPr>
          </a:p>
        </p:txBody>
      </p:sp>
      <p:grpSp>
        <p:nvGrpSpPr>
          <p:cNvPr id="5" name="Group 4">
            <a:extLst>
              <a:ext uri="{FF2B5EF4-FFF2-40B4-BE49-F238E27FC236}">
                <a16:creationId xmlns:a16="http://schemas.microsoft.com/office/drawing/2014/main" id="{8E90471E-3BFE-4044-B4E7-E3AD67A880DA}"/>
              </a:ext>
            </a:extLst>
          </p:cNvPr>
          <p:cNvGrpSpPr/>
          <p:nvPr/>
        </p:nvGrpSpPr>
        <p:grpSpPr>
          <a:xfrm>
            <a:off x="-1" y="0"/>
            <a:ext cx="12192001" cy="324000"/>
            <a:chOff x="-1" y="0"/>
            <a:chExt cx="12192001" cy="324000"/>
          </a:xfrm>
        </p:grpSpPr>
        <p:pic>
          <p:nvPicPr>
            <p:cNvPr id="6" name="Picture 5">
              <a:extLst>
                <a:ext uri="{FF2B5EF4-FFF2-40B4-BE49-F238E27FC236}">
                  <a16:creationId xmlns:a16="http://schemas.microsoft.com/office/drawing/2014/main" id="{AF281A20-AEE3-4800-807A-950336D16D87}"/>
                </a:ext>
              </a:extLst>
            </p:cNvPr>
            <p:cNvPicPr>
              <a:picLocks noChangeAspect="1"/>
            </p:cNvPicPr>
            <p:nvPr/>
          </p:nvPicPr>
          <p:blipFill rotWithShape="1">
            <a:blip r:embed="rId3"/>
            <a:srcRect l="4337" t="32863" r="4811" b="1"/>
            <a:stretch/>
          </p:blipFill>
          <p:spPr>
            <a:xfrm>
              <a:off x="7595413" y="0"/>
              <a:ext cx="4596587" cy="324000"/>
            </a:xfrm>
            <a:prstGeom prst="rect">
              <a:avLst/>
            </a:prstGeom>
          </p:spPr>
        </p:pic>
        <p:pic>
          <p:nvPicPr>
            <p:cNvPr id="7" name="Picture 6">
              <a:extLst>
                <a:ext uri="{FF2B5EF4-FFF2-40B4-BE49-F238E27FC236}">
                  <a16:creationId xmlns:a16="http://schemas.microsoft.com/office/drawing/2014/main" id="{25167EA9-E68A-4EAE-9FD1-B10D9C07EB57}"/>
                </a:ext>
              </a:extLst>
            </p:cNvPr>
            <p:cNvPicPr>
              <a:picLocks noChangeAspect="1"/>
            </p:cNvPicPr>
            <p:nvPr/>
          </p:nvPicPr>
          <p:blipFill rotWithShape="1">
            <a:blip r:embed="rId3"/>
            <a:srcRect l="4337" t="32863" r="40144" b="19439"/>
            <a:stretch/>
          </p:blipFill>
          <p:spPr>
            <a:xfrm>
              <a:off x="-1" y="0"/>
              <a:ext cx="7620581" cy="230188"/>
            </a:xfrm>
            <a:prstGeom prst="rect">
              <a:avLst/>
            </a:prstGeom>
          </p:spPr>
        </p:pic>
      </p:grpSp>
    </p:spTree>
    <p:custDataLst>
      <p:tags r:id="rId1"/>
    </p:custDataLst>
    <p:extLst>
      <p:ext uri="{BB962C8B-B14F-4D97-AF65-F5344CB8AC3E}">
        <p14:creationId xmlns:p14="http://schemas.microsoft.com/office/powerpoint/2010/main" val="239619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One Line Title Slide w/ Log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3947" y="3722289"/>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pic>
        <p:nvPicPr>
          <p:cNvPr id="28" name="Picture 27">
            <a:extLst>
              <a:ext uri="{FF2B5EF4-FFF2-40B4-BE49-F238E27FC236}">
                <a16:creationId xmlns:a16="http://schemas.microsoft.com/office/drawing/2014/main" id="{D3F72533-155C-ED47-A31B-01FFA5B7A63F}"/>
              </a:ext>
            </a:extLst>
          </p:cNvPr>
          <p:cNvPicPr>
            <a:picLocks noChangeAspect="1"/>
          </p:cNvPicPr>
          <p:nvPr/>
        </p:nvPicPr>
        <p:blipFill rotWithShape="1">
          <a:blip r:embed="rId3"/>
          <a:srcRect l="34731" r="-1"/>
          <a:stretch/>
        </p:blipFill>
        <p:spPr>
          <a:xfrm>
            <a:off x="0" y="0"/>
            <a:ext cx="5085448" cy="6858000"/>
          </a:xfrm>
          <a:prstGeom prst="rect">
            <a:avLst/>
          </a:prstGeom>
        </p:spPr>
      </p:pic>
      <p:grpSp>
        <p:nvGrpSpPr>
          <p:cNvPr id="9" name="Group 8">
            <a:extLst>
              <a:ext uri="{FF2B5EF4-FFF2-40B4-BE49-F238E27FC236}">
                <a16:creationId xmlns:a16="http://schemas.microsoft.com/office/drawing/2014/main" id="{7D27C231-BF81-0143-B523-B94639D66C3B}"/>
              </a:ext>
            </a:extLst>
          </p:cNvPr>
          <p:cNvGrpSpPr/>
          <p:nvPr/>
        </p:nvGrpSpPr>
        <p:grpSpPr>
          <a:xfrm>
            <a:off x="9648837" y="2597502"/>
            <a:ext cx="1887843" cy="945130"/>
            <a:chOff x="4202641" y="1997103"/>
            <a:chExt cx="1887843" cy="945130"/>
          </a:xfrm>
        </p:grpSpPr>
        <p:cxnSp>
          <p:nvCxnSpPr>
            <p:cNvPr id="10" name="Straight Connector 9">
              <a:extLst>
                <a:ext uri="{FF2B5EF4-FFF2-40B4-BE49-F238E27FC236}">
                  <a16:creationId xmlns:a16="http://schemas.microsoft.com/office/drawing/2014/main" id="{B616C1E7-B94E-D64B-B001-0EE15BE6C052}"/>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8E8C3E-5B41-0441-AF7A-51F1B9F7FF96}"/>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descr="GT_Logo.em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2020" y="303069"/>
            <a:ext cx="2448056" cy="711891"/>
          </a:xfrm>
          <a:prstGeom prst="rect">
            <a:avLst/>
          </a:prstGeom>
        </p:spPr>
      </p:pic>
      <p:sp>
        <p:nvSpPr>
          <p:cNvPr id="8"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057557"/>
            <a:ext cx="5153032" cy="598890"/>
          </a:xfrm>
        </p:spPr>
        <p:txBody>
          <a:bodyPr lIns="182880" tIns="0" rIns="228600" anchor="b"/>
          <a:lstStyle>
            <a:lvl1pPr marL="0" indent="0" algn="r">
              <a:tabLst/>
              <a:defRPr sz="4400">
                <a:solidFill>
                  <a:schemeClr val="tx1"/>
                </a:solidFill>
              </a:defRPr>
            </a:lvl1pPr>
          </a:lstStyle>
          <a:p>
            <a:br>
              <a:rPr lang="en-US" dirty="0"/>
            </a:br>
            <a:r>
              <a:rPr lang="en-US" dirty="0"/>
              <a:t>Title goes here</a:t>
            </a:r>
          </a:p>
        </p:txBody>
      </p:sp>
    </p:spTree>
    <p:custDataLst>
      <p:tags r:id="rId1"/>
    </p:custDataLst>
    <p:extLst>
      <p:ext uri="{BB962C8B-B14F-4D97-AF65-F5344CB8AC3E}">
        <p14:creationId xmlns:p14="http://schemas.microsoft.com/office/powerpoint/2010/main" val="384371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wo Line Title Slide w/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657600"/>
            <a:ext cx="5153032" cy="598890"/>
          </a:xfrm>
        </p:spPr>
        <p:txBody>
          <a:bodyPr lIns="182880" tIns="0" rIns="228600" anchor="b"/>
          <a:lstStyle>
            <a:lvl1pPr marL="0" indent="0" algn="r">
              <a:tabLst/>
              <a:defRPr sz="4400">
                <a:solidFill>
                  <a:schemeClr val="tx1"/>
                </a:solidFill>
              </a:defRPr>
            </a:lvl1pPr>
          </a:lstStyle>
          <a:p>
            <a:br>
              <a:rPr lang="en-US" dirty="0"/>
            </a:br>
            <a:r>
              <a:rPr lang="en-US" dirty="0"/>
              <a:t>A two line title</a:t>
            </a:r>
            <a:br>
              <a:rPr lang="en-US" dirty="0"/>
            </a:br>
            <a:r>
              <a:rPr lang="en-US" dirty="0"/>
              <a:t>goes her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2821" y="4293871"/>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1" name="Group 10">
            <a:extLst>
              <a:ext uri="{FF2B5EF4-FFF2-40B4-BE49-F238E27FC236}">
                <a16:creationId xmlns:a16="http://schemas.microsoft.com/office/drawing/2014/main" id="{C39CEB44-9E89-DC41-BCB7-E03D5FB4DA61}"/>
              </a:ext>
            </a:extLst>
          </p:cNvPr>
          <p:cNvGrpSpPr/>
          <p:nvPr/>
        </p:nvGrpSpPr>
        <p:grpSpPr>
          <a:xfrm>
            <a:off x="9648837" y="2597502"/>
            <a:ext cx="1887843" cy="945130"/>
            <a:chOff x="4202641" y="1997103"/>
            <a:chExt cx="1887843" cy="945130"/>
          </a:xfrm>
        </p:grpSpPr>
        <p:cxnSp>
          <p:nvCxnSpPr>
            <p:cNvPr id="12" name="Straight Connector 11">
              <a:extLst>
                <a:ext uri="{FF2B5EF4-FFF2-40B4-BE49-F238E27FC236}">
                  <a16:creationId xmlns:a16="http://schemas.microsoft.com/office/drawing/2014/main" id="{3E7667E4-8081-BA40-BD0C-76A8F4228560}"/>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8A31E2-D290-1B42-9DA1-78E163F63DF0}"/>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B0C82FFF-B591-D246-B684-92C3733D9CC4}"/>
              </a:ext>
            </a:extLst>
          </p:cNvPr>
          <p:cNvPicPr>
            <a:picLocks noChangeAspect="1"/>
          </p:cNvPicPr>
          <p:nvPr/>
        </p:nvPicPr>
        <p:blipFill rotWithShape="1">
          <a:blip r:embed="rId3"/>
          <a:srcRect l="37938" t="658" r="1315" b="658"/>
          <a:stretch/>
        </p:blipFill>
        <p:spPr>
          <a:xfrm>
            <a:off x="0" y="0"/>
            <a:ext cx="4221480" cy="6858000"/>
          </a:xfrm>
          <a:prstGeom prst="rect">
            <a:avLst/>
          </a:prstGeom>
        </p:spPr>
      </p:pic>
      <p:pic>
        <p:nvPicPr>
          <p:cNvPr id="9" name="Picture 8" descr="GT_Logo.em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2020" y="303069"/>
            <a:ext cx="2448056" cy="711891"/>
          </a:xfrm>
          <a:prstGeom prst="rect">
            <a:avLst/>
          </a:prstGeom>
        </p:spPr>
      </p:pic>
    </p:spTree>
    <p:custDataLst>
      <p:tags r:id="rId1"/>
    </p:custDataLst>
    <p:extLst>
      <p:ext uri="{BB962C8B-B14F-4D97-AF65-F5344CB8AC3E}">
        <p14:creationId xmlns:p14="http://schemas.microsoft.com/office/powerpoint/2010/main" val="349507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TextBox 4"/>
          <p:cNvSpPr txBox="1"/>
          <p:nvPr/>
        </p:nvSpPr>
        <p:spPr>
          <a:xfrm>
            <a:off x="482219" y="468283"/>
            <a:ext cx="84979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peedee"/>
                <a:ea typeface="+mn-ea"/>
                <a:cs typeface="+mn-cs"/>
              </a:rPr>
              <a:t>Digital – April Governance Committee</a:t>
            </a:r>
          </a:p>
        </p:txBody>
      </p:sp>
    </p:spTree>
    <p:custDataLst>
      <p:tags r:id="rId1"/>
    </p:custDataLst>
    <p:extLst>
      <p:ext uri="{BB962C8B-B14F-4D97-AF65-F5344CB8AC3E}">
        <p14:creationId xmlns:p14="http://schemas.microsoft.com/office/powerpoint/2010/main" val="401004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1341755" y="2743200"/>
            <a:ext cx="5622925" cy="1417320"/>
          </a:xfrm>
        </p:spPr>
        <p:txBody>
          <a:bodyPr anchor="ctr" anchorCtr="0"/>
          <a:lstStyle>
            <a:lvl1pPr algn="l">
              <a:lnSpc>
                <a:spcPct val="90000"/>
              </a:lnSpc>
              <a:defRPr sz="4400">
                <a:solidFill>
                  <a:schemeClr val="tx1"/>
                </a:solidFill>
              </a:defRPr>
            </a:lvl1pPr>
          </a:lstStyle>
          <a:p>
            <a:r>
              <a:rPr lang="en-US" dirty="0"/>
              <a:t>Click to edit Master Title style</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a:srcRect l="18750" t="16711" b="12500"/>
          <a:stretch/>
        </p:blipFill>
        <p:spPr>
          <a:xfrm>
            <a:off x="-30480" y="0"/>
            <a:ext cx="1188720" cy="6858000"/>
          </a:xfrm>
          <a:prstGeom prst="rect">
            <a:avLst/>
          </a:prstGeom>
        </p:spPr>
      </p:pic>
    </p:spTree>
    <p:custDataLst>
      <p:tags r:id="rId1"/>
    </p:custDataLst>
    <p:extLst>
      <p:ext uri="{BB962C8B-B14F-4D97-AF65-F5344CB8AC3E}">
        <p14:creationId xmlns:p14="http://schemas.microsoft.com/office/powerpoint/2010/main" val="151452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Yellow Divider">
    <p:bg>
      <p:bgPr>
        <a:solidFill>
          <a:schemeClr val="bg1"/>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DC6089AD-576A-6647-8C8E-DCC31DE52D2C}"/>
              </a:ext>
            </a:extLst>
          </p:cNvPr>
          <p:cNvPicPr>
            <a:picLocks noChangeAspect="1"/>
          </p:cNvPicPr>
          <p:nvPr/>
        </p:nvPicPr>
        <p:blipFill>
          <a:blip r:embed="rId3"/>
          <a:stretch>
            <a:fillRect/>
          </a:stretch>
        </p:blipFill>
        <p:spPr>
          <a:xfrm>
            <a:off x="469993" y="457201"/>
            <a:ext cx="11240741" cy="5952106"/>
          </a:xfrm>
          <a:prstGeom prst="rect">
            <a:avLst/>
          </a:prstGeom>
        </p:spPr>
      </p:pic>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9" name="Title 1">
            <a:extLst>
              <a:ext uri="{FF2B5EF4-FFF2-40B4-BE49-F238E27FC236}">
                <a16:creationId xmlns:a16="http://schemas.microsoft.com/office/drawing/2014/main" id="{61B05854-1F0B-D045-B7C0-F5BDDC1B72B8}"/>
              </a:ext>
            </a:extLst>
          </p:cNvPr>
          <p:cNvSpPr>
            <a:spLocks noGrp="1"/>
          </p:cNvSpPr>
          <p:nvPr>
            <p:ph type="ctrTitle"/>
          </p:nvPr>
        </p:nvSpPr>
        <p:spPr>
          <a:xfrm>
            <a:off x="883920" y="3085362"/>
            <a:ext cx="8778240" cy="685800"/>
          </a:xfrm>
          <a:noFill/>
        </p:spPr>
        <p:txBody>
          <a:bodyPr lIns="137160" rIns="137160" anchor="ctr" anchorCtr="0"/>
          <a:lstStyle>
            <a:lvl1pPr algn="l">
              <a:lnSpc>
                <a:spcPct val="90000"/>
              </a:lnSpc>
              <a:defRPr sz="44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45369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7">
          <p15:clr>
            <a:srgbClr val="FBAE40"/>
          </p15:clr>
        </p15:guide>
        <p15:guide id="2" pos="721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accent5"/>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Slide Number Placeholder 3">
            <a:extLst>
              <a:ext uri="{FF2B5EF4-FFF2-40B4-BE49-F238E27FC236}">
                <a16:creationId xmlns:a16="http://schemas.microsoft.com/office/drawing/2014/main" id="{70A15F3D-AC04-B64A-B33D-4946D9634B32}"/>
              </a:ext>
            </a:extLst>
          </p:cNvPr>
          <p:cNvSpPr>
            <a:spLocks noGrp="1"/>
          </p:cNvSpPr>
          <p:nvPr>
            <p:ph type="sldNum" sz="quarter" idx="11"/>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97186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083A050F-49AA-7D4B-83EE-C84CE0A1135B}"/>
              </a:ext>
            </a:extLst>
          </p:cNvPr>
          <p:cNvSpPr>
            <a:spLocks noGrp="1"/>
          </p:cNvSpPr>
          <p:nvPr>
            <p:ph type="sldNum" sz="quarter" idx="11"/>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a:t>Click icon to add picture</a:t>
            </a:r>
            <a:endParaRPr lang="en-US" dirty="0"/>
          </a:p>
        </p:txBody>
      </p:sp>
    </p:spTree>
    <p:custDataLst>
      <p:tags r:id="rId1"/>
    </p:custDataLst>
    <p:extLst>
      <p:ext uri="{BB962C8B-B14F-4D97-AF65-F5344CB8AC3E}">
        <p14:creationId xmlns:p14="http://schemas.microsoft.com/office/powerpoint/2010/main" val="403282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defRPr sz="2000"/>
            </a:lvl1pPr>
            <a:lvl2pPr algn="l">
              <a:buClr>
                <a:schemeClr val="tx1"/>
              </a:buClr>
              <a:defRPr sz="1800"/>
            </a:lvl2pPr>
            <a:lvl3pPr algn="l">
              <a:buClr>
                <a:schemeClr val="tx1"/>
              </a:buClr>
              <a:defRPr sz="1800"/>
            </a:lvl3pPr>
            <a:lvl4pPr algn="l">
              <a:buClr>
                <a:schemeClr val="tx1"/>
              </a:buClr>
              <a:defRPr sz="1800"/>
            </a:lvl4pPr>
            <a:lvl5pPr algn="l">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B615C9EC-86CF-FA4A-926E-E7D47D3BA853}"/>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8A94D66E-8A3B-104D-AE0D-B923638D6607}"/>
              </a:ext>
            </a:extLst>
          </p:cNvPr>
          <p:cNvPicPr>
            <a:picLocks noChangeAspect="1"/>
          </p:cNvPicPr>
          <p:nvPr/>
        </p:nvPicPr>
        <p:blipFill rotWithShape="1">
          <a:blip r:embed="rId3"/>
          <a:srcRect l="18750" t="16711" b="12500"/>
          <a:stretch/>
        </p:blipFill>
        <p:spPr>
          <a:xfrm>
            <a:off x="10922000" y="0"/>
            <a:ext cx="1188720" cy="6858000"/>
          </a:xfrm>
          <a:prstGeom prst="rect">
            <a:avLst/>
          </a:prstGeom>
        </p:spPr>
      </p:pic>
    </p:spTree>
    <p:custDataLst>
      <p:tags r:id="rId1"/>
    </p:custDataLst>
    <p:extLst>
      <p:ext uri="{BB962C8B-B14F-4D97-AF65-F5344CB8AC3E}">
        <p14:creationId xmlns:p14="http://schemas.microsoft.com/office/powerpoint/2010/main" val="95960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4963" y="1371600"/>
            <a:ext cx="11521757" cy="1828800"/>
          </a:xfrm>
        </p:spPr>
        <p:txBody>
          <a:bodyPr lIns="91440" rIns="91440" anchor="t" anchorCtr="0">
            <a:noAutofit/>
          </a:bodyPr>
          <a:lstStyle>
            <a:lvl1pPr algn="r">
              <a:defRPr sz="4000"/>
            </a:lvl1pPr>
          </a:lstStyle>
          <a:p>
            <a:r>
              <a:rPr lang="en-US"/>
              <a:t>Click to edit Master title style</a:t>
            </a:r>
            <a:endParaRPr lang="en-US" dirty="0"/>
          </a:p>
        </p:txBody>
      </p:sp>
      <p:pic>
        <p:nvPicPr>
          <p:cNvPr id="4" name="Graphic 3">
            <a:extLst>
              <a:ext uri="{FF2B5EF4-FFF2-40B4-BE49-F238E27FC236}">
                <a16:creationId xmlns:a16="http://schemas.microsoft.com/office/drawing/2014/main" id="{9362A543-3733-441F-8567-155CE2234F4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flipH="1">
            <a:off x="0" y="3036696"/>
            <a:ext cx="7254240" cy="3821304"/>
          </a:xfrm>
          <a:prstGeom prst="rect">
            <a:avLst/>
          </a:prstGeom>
        </p:spPr>
      </p:pic>
    </p:spTree>
    <p:custDataLst>
      <p:tags r:id="rId1"/>
    </p:custDataLst>
    <p:extLst>
      <p:ext uri="{BB962C8B-B14F-4D97-AF65-F5344CB8AC3E}">
        <p14:creationId xmlns:p14="http://schemas.microsoft.com/office/powerpoint/2010/main" val="316548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1293432"/>
            <a:ext cx="11245851" cy="1417320"/>
          </a:xfrm>
          <a:prstGeom prst="rect">
            <a:avLst/>
          </a:prstGeom>
        </p:spPr>
        <p:txBody>
          <a:bodyPr tIns="0" bIns="0"/>
          <a:lstStyle>
            <a:lvl1pPr marL="0" indent="0" algn="ctr">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77628128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365568106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row Only">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35D10027-2962-9643-875E-88568B11FDB3}"/>
              </a:ext>
            </a:extLst>
          </p:cNvPr>
          <p:cNvSpPr>
            <a:spLocks noGrp="1"/>
          </p:cNvSpPr>
          <p:nvPr>
            <p:ph type="sldNum" sz="quarter" idx="10"/>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94638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row &amp; Bracke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05323" y="-137607"/>
            <a:ext cx="369397" cy="43396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err="1">
              <a:ln>
                <a:noFill/>
              </a:ln>
              <a:solidFill>
                <a:srgbClr val="FFFFFF"/>
              </a:solidFill>
              <a:effectLst/>
              <a:uLnTx/>
              <a:uFillTx/>
              <a:latin typeface="Speedee" panose="020B0603030502020204" pitchFamily="34" charset="0"/>
              <a:ea typeface="+mn-ea"/>
              <a:cs typeface="+mn-cs"/>
              <a:sym typeface="Speedee" panose="020B0603030502020204" pitchFamily="34" charset="0"/>
            </a:endParaRPr>
          </a:p>
        </p:txBody>
      </p:sp>
      <p:sp>
        <p:nvSpPr>
          <p:cNvPr id="14" name="Title 13">
            <a:extLst>
              <a:ext uri="{FF2B5EF4-FFF2-40B4-BE49-F238E27FC236}">
                <a16:creationId xmlns:a16="http://schemas.microsoft.com/office/drawing/2014/main" id="{1C002342-B149-7340-8269-90AC2877B334}"/>
              </a:ext>
            </a:extLst>
          </p:cNvPr>
          <p:cNvSpPr>
            <a:spLocks noGrp="1"/>
          </p:cNvSpPr>
          <p:nvPr>
            <p:ph type="title" hasCustomPrompt="1"/>
          </p:nvPr>
        </p:nvSpPr>
        <p:spPr>
          <a:xfrm>
            <a:off x="485954" y="468283"/>
            <a:ext cx="5165725" cy="261520"/>
          </a:xfrm>
        </p:spPr>
        <p:txBody>
          <a:bodyPr tIns="0"/>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mn-ea"/>
                <a:cs typeface="+mn-cs"/>
              </a:rPr>
              <a:t>Digital – April Governance Committee</a:t>
            </a:r>
          </a:p>
        </p:txBody>
      </p:sp>
      <p:grpSp>
        <p:nvGrpSpPr>
          <p:cNvPr id="3" name="Group 2">
            <a:extLst>
              <a:ext uri="{FF2B5EF4-FFF2-40B4-BE49-F238E27FC236}">
                <a16:creationId xmlns:a16="http://schemas.microsoft.com/office/drawing/2014/main" id="{A705B47E-CF47-E644-B84E-AE3C119DB3B2}"/>
              </a:ext>
            </a:extLst>
          </p:cNvPr>
          <p:cNvGrpSpPr/>
          <p:nvPr/>
        </p:nvGrpSpPr>
        <p:grpSpPr>
          <a:xfrm>
            <a:off x="9748689" y="468283"/>
            <a:ext cx="1968750" cy="960120"/>
            <a:chOff x="9748689" y="468283"/>
            <a:chExt cx="1968750" cy="960120"/>
          </a:xfrm>
        </p:grpSpPr>
        <p:cxnSp>
          <p:nvCxnSpPr>
            <p:cNvPr id="4" name="Straight Connector 3">
              <a:extLst>
                <a:ext uri="{FF2B5EF4-FFF2-40B4-BE49-F238E27FC236}">
                  <a16:creationId xmlns:a16="http://schemas.microsoft.com/office/drawing/2014/main" id="{9F7CA070-0CE3-D146-884B-3823599CC7C2}"/>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70008D5-EB83-7843-83DF-063E050C916F}"/>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E6E797CF-1492-8342-8139-2F8A86F55D1A}"/>
              </a:ext>
            </a:extLst>
          </p:cNvPr>
          <p:cNvSpPr>
            <a:spLocks noGrp="1"/>
          </p:cNvSpPr>
          <p:nvPr>
            <p:ph type="sldNum" sz="quarter" idx="10"/>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93210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81882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01281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racket Only">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2" name="Group 1">
            <a:extLst>
              <a:ext uri="{FF2B5EF4-FFF2-40B4-BE49-F238E27FC236}">
                <a16:creationId xmlns:a16="http://schemas.microsoft.com/office/drawing/2014/main" id="{5A95E225-00A7-D24B-9956-20D6DF1B603D}"/>
              </a:ext>
            </a:extLst>
          </p:cNvPr>
          <p:cNvGrpSpPr/>
          <p:nvPr/>
        </p:nvGrpSpPr>
        <p:grpSpPr>
          <a:xfrm>
            <a:off x="9748689" y="468283"/>
            <a:ext cx="1968750" cy="960120"/>
            <a:chOff x="9748689" y="468283"/>
            <a:chExt cx="1968750" cy="960120"/>
          </a:xfrm>
        </p:grpSpPr>
        <p:cxnSp>
          <p:nvCxnSpPr>
            <p:cNvPr id="3" name="Straight Connector 2">
              <a:extLst>
                <a:ext uri="{FF2B5EF4-FFF2-40B4-BE49-F238E27FC236}">
                  <a16:creationId xmlns:a16="http://schemas.microsoft.com/office/drawing/2014/main" id="{BA049C9F-A642-5A44-B0E2-036C05BCB272}"/>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173C8AF-5B46-CB4C-9067-D09F1C8E9E92}"/>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37946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Half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59C9FB6-4D52-4E0A-B2EE-0F609174056D}"/>
              </a:ext>
            </a:extLst>
          </p:cNvPr>
          <p:cNvSpPr>
            <a:spLocks noGrp="1"/>
          </p:cNvSpPr>
          <p:nvPr>
            <p:ph type="pic" sz="quarter" idx="10"/>
          </p:nvPr>
        </p:nvSpPr>
        <p:spPr>
          <a:xfrm>
            <a:off x="473074" y="457200"/>
            <a:ext cx="11250787" cy="2971800"/>
          </a:xfrm>
          <a:custGeom>
            <a:avLst/>
            <a:gdLst>
              <a:gd name="connsiteX0" fmla="*/ 0 w 11245851"/>
              <a:gd name="connsiteY0" fmla="*/ 278339 h 2971800"/>
              <a:gd name="connsiteX1" fmla="*/ 278339 w 11245851"/>
              <a:gd name="connsiteY1" fmla="*/ 0 h 2971800"/>
              <a:gd name="connsiteX2" fmla="*/ 10967512 w 11245851"/>
              <a:gd name="connsiteY2" fmla="*/ 0 h 2971800"/>
              <a:gd name="connsiteX3" fmla="*/ 11245851 w 11245851"/>
              <a:gd name="connsiteY3" fmla="*/ 278339 h 2971800"/>
              <a:gd name="connsiteX4" fmla="*/ 11245851 w 11245851"/>
              <a:gd name="connsiteY4" fmla="*/ 2693461 h 2971800"/>
              <a:gd name="connsiteX5" fmla="*/ 10967512 w 11245851"/>
              <a:gd name="connsiteY5" fmla="*/ 2971800 h 2971800"/>
              <a:gd name="connsiteX6" fmla="*/ 278339 w 11245851"/>
              <a:gd name="connsiteY6" fmla="*/ 2971800 h 2971800"/>
              <a:gd name="connsiteX7" fmla="*/ 0 w 11245851"/>
              <a:gd name="connsiteY7" fmla="*/ 2693461 h 2971800"/>
              <a:gd name="connsiteX8" fmla="*/ 0 w 11245851"/>
              <a:gd name="connsiteY8" fmla="*/ 278339 h 2971800"/>
              <a:gd name="connsiteX0" fmla="*/ 0 w 11858938"/>
              <a:gd name="connsiteY0" fmla="*/ 278339 h 2971800"/>
              <a:gd name="connsiteX1" fmla="*/ 278339 w 11858938"/>
              <a:gd name="connsiteY1" fmla="*/ 0 h 2971800"/>
              <a:gd name="connsiteX2" fmla="*/ 10967512 w 11858938"/>
              <a:gd name="connsiteY2" fmla="*/ 0 h 2971800"/>
              <a:gd name="connsiteX3" fmla="*/ 11245851 w 11858938"/>
              <a:gd name="connsiteY3" fmla="*/ 2693461 h 2971800"/>
              <a:gd name="connsiteX4" fmla="*/ 10967512 w 11858938"/>
              <a:gd name="connsiteY4" fmla="*/ 2971800 h 2971800"/>
              <a:gd name="connsiteX5" fmla="*/ 278339 w 11858938"/>
              <a:gd name="connsiteY5" fmla="*/ 2971800 h 2971800"/>
              <a:gd name="connsiteX6" fmla="*/ 0 w 11858938"/>
              <a:gd name="connsiteY6" fmla="*/ 2693461 h 2971800"/>
              <a:gd name="connsiteX7" fmla="*/ 0 w 11858938"/>
              <a:gd name="connsiteY7" fmla="*/ 278339 h 2971800"/>
              <a:gd name="connsiteX0" fmla="*/ 0 w 12061877"/>
              <a:gd name="connsiteY0" fmla="*/ 278339 h 2971800"/>
              <a:gd name="connsiteX1" fmla="*/ 278339 w 12061877"/>
              <a:gd name="connsiteY1" fmla="*/ 0 h 2971800"/>
              <a:gd name="connsiteX2" fmla="*/ 11250733 w 12061877"/>
              <a:gd name="connsiteY2" fmla="*/ 0 h 2971800"/>
              <a:gd name="connsiteX3" fmla="*/ 11245851 w 12061877"/>
              <a:gd name="connsiteY3" fmla="*/ 2693461 h 2971800"/>
              <a:gd name="connsiteX4" fmla="*/ 10967512 w 12061877"/>
              <a:gd name="connsiteY4" fmla="*/ 2971800 h 2971800"/>
              <a:gd name="connsiteX5" fmla="*/ 278339 w 12061877"/>
              <a:gd name="connsiteY5" fmla="*/ 2971800 h 2971800"/>
              <a:gd name="connsiteX6" fmla="*/ 0 w 12061877"/>
              <a:gd name="connsiteY6" fmla="*/ 2693461 h 2971800"/>
              <a:gd name="connsiteX7" fmla="*/ 0 w 12061877"/>
              <a:gd name="connsiteY7" fmla="*/ 278339 h 2971800"/>
              <a:gd name="connsiteX0" fmla="*/ 0 w 11327392"/>
              <a:gd name="connsiteY0" fmla="*/ 278339 h 2971800"/>
              <a:gd name="connsiteX1" fmla="*/ 278339 w 11327392"/>
              <a:gd name="connsiteY1" fmla="*/ 0 h 2971800"/>
              <a:gd name="connsiteX2" fmla="*/ 11250733 w 11327392"/>
              <a:gd name="connsiteY2" fmla="*/ 0 h 2971800"/>
              <a:gd name="connsiteX3" fmla="*/ 11245851 w 11327392"/>
              <a:gd name="connsiteY3" fmla="*/ 2693461 h 2971800"/>
              <a:gd name="connsiteX4" fmla="*/ 10967512 w 11327392"/>
              <a:gd name="connsiteY4" fmla="*/ 2971800 h 2971800"/>
              <a:gd name="connsiteX5" fmla="*/ 278339 w 11327392"/>
              <a:gd name="connsiteY5" fmla="*/ 2971800 h 2971800"/>
              <a:gd name="connsiteX6" fmla="*/ 0 w 11327392"/>
              <a:gd name="connsiteY6" fmla="*/ 2693461 h 2971800"/>
              <a:gd name="connsiteX7" fmla="*/ 0 w 11327392"/>
              <a:gd name="connsiteY7" fmla="*/ 278339 h 2971800"/>
              <a:gd name="connsiteX0" fmla="*/ 0 w 11250733"/>
              <a:gd name="connsiteY0" fmla="*/ 278339 h 2971800"/>
              <a:gd name="connsiteX1" fmla="*/ 278339 w 11250733"/>
              <a:gd name="connsiteY1" fmla="*/ 0 h 2971800"/>
              <a:gd name="connsiteX2" fmla="*/ 11250733 w 11250733"/>
              <a:gd name="connsiteY2" fmla="*/ 0 h 2971800"/>
              <a:gd name="connsiteX3" fmla="*/ 11245851 w 11250733"/>
              <a:gd name="connsiteY3" fmla="*/ 2693461 h 2971800"/>
              <a:gd name="connsiteX4" fmla="*/ 10967512 w 11250733"/>
              <a:gd name="connsiteY4" fmla="*/ 2971800 h 2971800"/>
              <a:gd name="connsiteX5" fmla="*/ 278339 w 11250733"/>
              <a:gd name="connsiteY5" fmla="*/ 2971800 h 2971800"/>
              <a:gd name="connsiteX6" fmla="*/ 0 w 11250733"/>
              <a:gd name="connsiteY6" fmla="*/ 2693461 h 2971800"/>
              <a:gd name="connsiteX7" fmla="*/ 0 w 11250733"/>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0787" h="2971800">
                <a:moveTo>
                  <a:pt x="0" y="278339"/>
                </a:moveTo>
                <a:cubicBezTo>
                  <a:pt x="0" y="124617"/>
                  <a:pt x="124617" y="0"/>
                  <a:pt x="278339" y="0"/>
                </a:cubicBezTo>
                <a:lnTo>
                  <a:pt x="11250733" y="0"/>
                </a:lnTo>
                <a:cubicBezTo>
                  <a:pt x="11251395" y="313608"/>
                  <a:pt x="11245851" y="2198161"/>
                  <a:pt x="11245851" y="2693461"/>
                </a:cubicBezTo>
                <a:cubicBezTo>
                  <a:pt x="11245851" y="2847183"/>
                  <a:pt x="11121234" y="2971800"/>
                  <a:pt x="10967512" y="2971800"/>
                </a:cubicBezTo>
                <a:lnTo>
                  <a:pt x="278339" y="2971800"/>
                </a:lnTo>
                <a:cubicBezTo>
                  <a:pt x="124617" y="2971800"/>
                  <a:pt x="0" y="2847183"/>
                  <a:pt x="0" y="2693461"/>
                </a:cubicBezTo>
                <a:lnTo>
                  <a:pt x="0" y="278339"/>
                </a:lnTo>
                <a:close/>
              </a:path>
            </a:pathLst>
          </a:custGeom>
          <a:solidFill>
            <a:schemeClr val="accent5"/>
          </a:solidFill>
          <a:ln w="38100">
            <a:noFill/>
            <a:miter lim="800000"/>
          </a:ln>
        </p:spPr>
        <p:txBody>
          <a:bodyPr vert="horz" lIns="137160" tIns="274320" rIns="137160" bIns="274320" rtlCol="0" anchor="t" anchorCtr="0">
            <a:noAutofit/>
          </a:bodyPr>
          <a:lstStyle>
            <a:lvl1pPr marL="0" indent="0" algn="ctr">
              <a:buFont typeface="Arial" panose="020B0604020202020204" pitchFamily="34" charset="0"/>
              <a:buNone/>
              <a:defRPr lang="en-US" sz="1800" dirty="0">
                <a:noFill/>
              </a:defRPr>
            </a:lvl1pPr>
          </a:lstStyle>
          <a:p>
            <a:pPr marL="287338" lvl="0" indent="-287338" algn="ctr"/>
            <a:r>
              <a:rPr lang="en-US"/>
              <a:t>Click icon to add picture</a:t>
            </a:r>
            <a:endParaRPr lang="en-US" dirty="0"/>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473075" y="3429000"/>
            <a:ext cx="11245849" cy="3200400"/>
          </a:xfrm>
        </p:spPr>
        <p:txBody>
          <a:bodyPr lIns="0" tIns="0" rIns="0" bIns="0" anchor="ctr" anchorCtr="0"/>
          <a:lstStyle>
            <a:lvl1pPr algn="ctr">
              <a:defRPr sz="4400">
                <a:solidFill>
                  <a:schemeClr val="tx1"/>
                </a:solidFill>
              </a:defRPr>
            </a:lvl1pPr>
          </a:lstStyle>
          <a:p>
            <a:r>
              <a:rPr lang="en-US"/>
              <a:t>Click to edit Master title style</a:t>
            </a:r>
            <a:endParaRPr lang="en-US" dirty="0"/>
          </a:p>
        </p:txBody>
      </p:sp>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74177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 Square Right: Brow &amp; Text">
    <p:bg>
      <p:bgPr>
        <a:solidFill>
          <a:schemeClr val="bg1"/>
        </a:solid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8206E935-75A6-4050-BE93-44C6EB65AA42}"/>
              </a:ext>
            </a:extLst>
          </p:cNvPr>
          <p:cNvSpPr>
            <a:spLocks noGrp="1"/>
          </p:cNvSpPr>
          <p:nvPr>
            <p:ph sz="quarter" idx="11"/>
          </p:nvPr>
        </p:nvSpPr>
        <p:spPr>
          <a:xfrm>
            <a:off x="473075" y="1325880"/>
            <a:ext cx="5165725" cy="5074920"/>
          </a:xfrm>
          <a:prstGeom prst="rect">
            <a:avLst/>
          </a:prstGeom>
        </p:spPr>
        <p:txBody>
          <a:bodyPr anchor="ctr" anchorCtr="0"/>
          <a:lstStyle>
            <a:lvl1pPr marL="230188" indent="-230188">
              <a:buClr>
                <a:schemeClr val="tx1"/>
              </a:buClr>
              <a:buFontTx/>
              <a:buBlip>
                <a:blip r:embed="rId3"/>
              </a:buBlip>
              <a:defRPr sz="2000"/>
            </a:lvl1pPr>
            <a:lvl2pPr>
              <a:buClr>
                <a:schemeClr val="tx1"/>
              </a:buClr>
              <a:defRPr sz="1600"/>
            </a:lvl2pPr>
            <a:lvl3pPr>
              <a:buClr>
                <a:schemeClr val="tx1"/>
              </a:buClr>
              <a:defRPr sz="1600"/>
            </a:lvl3pPr>
            <a:lvl4pPr>
              <a:buClr>
                <a:schemeClr val="tx1"/>
              </a:buClr>
              <a:defRPr sz="1600"/>
            </a:lvl4pPr>
            <a:lvl5pPr>
              <a:buClr>
                <a:schemeClr val="tx1"/>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704CD852-C37E-B14B-860B-FE42C676A660}"/>
              </a:ext>
            </a:extLst>
          </p:cNvPr>
          <p:cNvSpPr>
            <a:spLocks noGrp="1"/>
          </p:cNvSpPr>
          <p:nvPr>
            <p:ph type="title"/>
          </p:nvPr>
        </p:nvSpPr>
        <p:spPr>
          <a:xfrm>
            <a:off x="473075" y="465927"/>
            <a:ext cx="5165725" cy="640080"/>
          </a:xfrm>
        </p:spPr>
        <p:txBody>
          <a:bodyPr/>
          <a:lstStyle/>
          <a:p>
            <a:r>
              <a:rPr lang="en-US"/>
              <a:t>Click to edit Master title style</a:t>
            </a:r>
          </a:p>
        </p:txBody>
      </p:sp>
      <p:sp>
        <p:nvSpPr>
          <p:cNvPr id="9" name="Picture Placeholder 4">
            <a:extLst>
              <a:ext uri="{FF2B5EF4-FFF2-40B4-BE49-F238E27FC236}">
                <a16:creationId xmlns:a16="http://schemas.microsoft.com/office/drawing/2014/main" id="{0A8188DC-6A49-AE43-B6BF-32186F665DF8}"/>
              </a:ext>
            </a:extLst>
          </p:cNvPr>
          <p:cNvSpPr>
            <a:spLocks noGrp="1"/>
          </p:cNvSpPr>
          <p:nvPr>
            <p:ph type="pic" sz="quarter" idx="12"/>
          </p:nvPr>
        </p:nvSpPr>
        <p:spPr>
          <a:xfrm>
            <a:off x="6098876" y="453561"/>
            <a:ext cx="5638345"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468923 w 5630530"/>
              <a:gd name="connsiteY0" fmla="*/ 344211 h 5947240"/>
              <a:gd name="connsiteX1" fmla="*/ 809494 w 5630530"/>
              <a:gd name="connsiteY1" fmla="*/ 3640 h 5947240"/>
              <a:gd name="connsiteX2" fmla="*/ 5628696 w 5630530"/>
              <a:gd name="connsiteY2" fmla="*/ 0 h 5947240"/>
              <a:gd name="connsiteX3" fmla="*/ 5627534 w 5630530"/>
              <a:gd name="connsiteY3" fmla="*/ 5606669 h 5947240"/>
              <a:gd name="connsiteX4" fmla="*/ 5286963 w 5630530"/>
              <a:gd name="connsiteY4" fmla="*/ 5947240 h 5947240"/>
              <a:gd name="connsiteX5" fmla="*/ 809494 w 5630530"/>
              <a:gd name="connsiteY5" fmla="*/ 5947240 h 5947240"/>
              <a:gd name="connsiteX6" fmla="*/ 0 w 5630530"/>
              <a:gd name="connsiteY6" fmla="*/ 5598853 h 5947240"/>
              <a:gd name="connsiteX7" fmla="*/ 468923 w 5630530"/>
              <a:gd name="connsiteY7" fmla="*/ 344211 h 5947240"/>
              <a:gd name="connsiteX0" fmla="*/ 0 w 5638345"/>
              <a:gd name="connsiteY0" fmla="*/ 352027 h 5947240"/>
              <a:gd name="connsiteX1" fmla="*/ 817309 w 5638345"/>
              <a:gd name="connsiteY1" fmla="*/ 3640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293678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356202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8345" h="5947240">
                <a:moveTo>
                  <a:pt x="0" y="352027"/>
                </a:moveTo>
                <a:cubicBezTo>
                  <a:pt x="0" y="163935"/>
                  <a:pt x="168110" y="11455"/>
                  <a:pt x="356202" y="11455"/>
                </a:cubicBezTo>
                <a:lnTo>
                  <a:pt x="5636511" y="0"/>
                </a:lnTo>
                <a:cubicBezTo>
                  <a:pt x="5640547" y="2407"/>
                  <a:pt x="5636886" y="4630086"/>
                  <a:pt x="5635349" y="5606669"/>
                </a:cubicBezTo>
                <a:cubicBezTo>
                  <a:pt x="5635349" y="5794761"/>
                  <a:pt x="5482870" y="5947240"/>
                  <a:pt x="5294778" y="5947240"/>
                </a:cubicBezTo>
                <a:lnTo>
                  <a:pt x="364016" y="5947240"/>
                </a:lnTo>
                <a:cubicBezTo>
                  <a:pt x="175924" y="5947240"/>
                  <a:pt x="7815" y="5786945"/>
                  <a:pt x="7815" y="5598853"/>
                </a:cubicBezTo>
                <a:lnTo>
                  <a:pt x="0" y="352027"/>
                </a:lnTo>
                <a:close/>
              </a:path>
            </a:pathLst>
          </a:custGeom>
          <a:solidFill>
            <a:schemeClr val="accent5"/>
          </a:solidFill>
        </p:spPr>
        <p:txBody>
          <a:bodyPr vert="horz" lIns="137160" tIns="274320" rIns="137160" bIns="274320" rtlCol="0" anchor="t" anchorCtr="0">
            <a:noAutofit/>
          </a:bodyPr>
          <a:lstStyle>
            <a:lvl1pPr marL="0" indent="0">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8" name="Slide Number Placeholder 7">
            <a:extLst>
              <a:ext uri="{FF2B5EF4-FFF2-40B4-BE49-F238E27FC236}">
                <a16:creationId xmlns:a16="http://schemas.microsoft.com/office/drawing/2014/main" id="{A3D8097F-9D9E-2647-B5DA-D73437AF7430}"/>
              </a:ext>
            </a:extLst>
          </p:cNvPr>
          <p:cNvSpPr>
            <a:spLocks noGrp="1"/>
          </p:cNvSpPr>
          <p:nvPr>
            <p:ph type="sldNum" sz="quarter" idx="13"/>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5627989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Pic Recangle Left: Brow &amp; Text">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D865E613-40AA-2042-8BBE-482E69E35B1F}"/>
              </a:ext>
            </a:extLst>
          </p:cNvPr>
          <p:cNvSpPr>
            <a:spLocks noGrp="1"/>
          </p:cNvSpPr>
          <p:nvPr>
            <p:ph sz="quarter" idx="11"/>
          </p:nvPr>
        </p:nvSpPr>
        <p:spPr>
          <a:xfrm>
            <a:off x="8656320" y="1737360"/>
            <a:ext cx="3062606" cy="4663439"/>
          </a:xfrm>
          <a:prstGeom prst="rect">
            <a:avLst/>
          </a:prstGeom>
        </p:spPr>
        <p:txBody>
          <a:bodyPr anchor="ctr" anchorCtr="0"/>
          <a:lstStyle>
            <a:lvl1pPr marL="230188" indent="-230188">
              <a:buClr>
                <a:schemeClr val="tx1"/>
              </a:buClr>
              <a:buFontTx/>
              <a:buBlip>
                <a:blip r:embed="rId3"/>
              </a:buBlip>
              <a:defRPr sz="2000"/>
            </a:lvl1pPr>
            <a:lvl2pPr>
              <a:buClr>
                <a:schemeClr val="tx1"/>
              </a:buClr>
              <a:defRPr sz="1600"/>
            </a:lvl2pPr>
            <a:lvl3pPr>
              <a:buClr>
                <a:schemeClr val="tx1"/>
              </a:buClr>
              <a:defRPr sz="1600"/>
            </a:lvl3pPr>
            <a:lvl4pPr>
              <a:buClr>
                <a:schemeClr val="tx1"/>
              </a:buClr>
              <a:defRPr sz="1600"/>
            </a:lvl4pPr>
            <a:lvl5pPr>
              <a:buClr>
                <a:schemeClr val="tx1"/>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4">
            <a:extLst>
              <a:ext uri="{FF2B5EF4-FFF2-40B4-BE49-F238E27FC236}">
                <a16:creationId xmlns:a16="http://schemas.microsoft.com/office/drawing/2014/main" id="{1679306A-E035-CE47-A814-D4626EE17B76}"/>
              </a:ext>
            </a:extLst>
          </p:cNvPr>
          <p:cNvSpPr>
            <a:spLocks noGrp="1"/>
          </p:cNvSpPr>
          <p:nvPr>
            <p:ph type="title"/>
          </p:nvPr>
        </p:nvSpPr>
        <p:spPr>
          <a:xfrm>
            <a:off x="8656319" y="457200"/>
            <a:ext cx="3062607" cy="640080"/>
          </a:xfrm>
        </p:spPr>
        <p:txBody>
          <a:bodyPr/>
          <a:lstStyle/>
          <a:p>
            <a:r>
              <a:rPr lang="en-US"/>
              <a:t>Click to edit Master title style</a:t>
            </a:r>
            <a:endParaRPr lang="en-US" dirty="0"/>
          </a:p>
        </p:txBody>
      </p:sp>
      <p:sp>
        <p:nvSpPr>
          <p:cNvPr id="16" name="Picture Placeholder 4">
            <a:extLst>
              <a:ext uri="{FF2B5EF4-FFF2-40B4-BE49-F238E27FC236}">
                <a16:creationId xmlns:a16="http://schemas.microsoft.com/office/drawing/2014/main" id="{F1C0D3B4-289D-B34A-939F-B8FEDE5CF598}"/>
              </a:ext>
            </a:extLst>
          </p:cNvPr>
          <p:cNvSpPr>
            <a:spLocks noGrp="1"/>
          </p:cNvSpPr>
          <p:nvPr>
            <p:ph type="pic" sz="quarter" idx="12"/>
          </p:nvPr>
        </p:nvSpPr>
        <p:spPr>
          <a:xfrm>
            <a:off x="473075" y="453561"/>
            <a:ext cx="7724192"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468923 w 5630530"/>
              <a:gd name="connsiteY0" fmla="*/ 344211 h 5947240"/>
              <a:gd name="connsiteX1" fmla="*/ 809494 w 5630530"/>
              <a:gd name="connsiteY1" fmla="*/ 3640 h 5947240"/>
              <a:gd name="connsiteX2" fmla="*/ 5628696 w 5630530"/>
              <a:gd name="connsiteY2" fmla="*/ 0 h 5947240"/>
              <a:gd name="connsiteX3" fmla="*/ 5627534 w 5630530"/>
              <a:gd name="connsiteY3" fmla="*/ 5606669 h 5947240"/>
              <a:gd name="connsiteX4" fmla="*/ 5286963 w 5630530"/>
              <a:gd name="connsiteY4" fmla="*/ 5947240 h 5947240"/>
              <a:gd name="connsiteX5" fmla="*/ 809494 w 5630530"/>
              <a:gd name="connsiteY5" fmla="*/ 5947240 h 5947240"/>
              <a:gd name="connsiteX6" fmla="*/ 0 w 5630530"/>
              <a:gd name="connsiteY6" fmla="*/ 5598853 h 5947240"/>
              <a:gd name="connsiteX7" fmla="*/ 468923 w 5630530"/>
              <a:gd name="connsiteY7" fmla="*/ 344211 h 5947240"/>
              <a:gd name="connsiteX0" fmla="*/ 0 w 5638345"/>
              <a:gd name="connsiteY0" fmla="*/ 352027 h 5947240"/>
              <a:gd name="connsiteX1" fmla="*/ 817309 w 5638345"/>
              <a:gd name="connsiteY1" fmla="*/ 3640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293678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356202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7723733"/>
              <a:gd name="connsiteY0" fmla="*/ 352027 h 5947240"/>
              <a:gd name="connsiteX1" fmla="*/ 356202 w 7723733"/>
              <a:gd name="connsiteY1" fmla="*/ 11455 h 5947240"/>
              <a:gd name="connsiteX2" fmla="*/ 7723728 w 7723733"/>
              <a:gd name="connsiteY2" fmla="*/ 0 h 5947240"/>
              <a:gd name="connsiteX3" fmla="*/ 5635349 w 7723733"/>
              <a:gd name="connsiteY3" fmla="*/ 5606669 h 5947240"/>
              <a:gd name="connsiteX4" fmla="*/ 5294778 w 7723733"/>
              <a:gd name="connsiteY4" fmla="*/ 5947240 h 5947240"/>
              <a:gd name="connsiteX5" fmla="*/ 364016 w 7723733"/>
              <a:gd name="connsiteY5" fmla="*/ 5947240 h 5947240"/>
              <a:gd name="connsiteX6" fmla="*/ 7815 w 7723733"/>
              <a:gd name="connsiteY6" fmla="*/ 5598853 h 5947240"/>
              <a:gd name="connsiteX7" fmla="*/ 0 w 772373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5294778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91934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22360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192"/>
              <a:gd name="connsiteY0" fmla="*/ 352027 h 5947240"/>
              <a:gd name="connsiteX1" fmla="*/ 356202 w 7724192"/>
              <a:gd name="connsiteY1" fmla="*/ 11455 h 5947240"/>
              <a:gd name="connsiteX2" fmla="*/ 7723728 w 7724192"/>
              <a:gd name="connsiteY2" fmla="*/ 0 h 5947240"/>
              <a:gd name="connsiteX3" fmla="*/ 7702688 w 7724192"/>
              <a:gd name="connsiteY3" fmla="*/ 5606669 h 5947240"/>
              <a:gd name="connsiteX4" fmla="*/ 7322360 w 7724192"/>
              <a:gd name="connsiteY4" fmla="*/ 5947240 h 5947240"/>
              <a:gd name="connsiteX5" fmla="*/ 364016 w 7724192"/>
              <a:gd name="connsiteY5" fmla="*/ 5947240 h 5947240"/>
              <a:gd name="connsiteX6" fmla="*/ 7815 w 7724192"/>
              <a:gd name="connsiteY6" fmla="*/ 5598853 h 5947240"/>
              <a:gd name="connsiteX7" fmla="*/ 0 w 7724192"/>
              <a:gd name="connsiteY7" fmla="*/ 352027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4192" h="5947240">
                <a:moveTo>
                  <a:pt x="0" y="352027"/>
                </a:moveTo>
                <a:cubicBezTo>
                  <a:pt x="0" y="163935"/>
                  <a:pt x="168110" y="11455"/>
                  <a:pt x="356202" y="11455"/>
                </a:cubicBezTo>
                <a:lnTo>
                  <a:pt x="7723728" y="0"/>
                </a:lnTo>
                <a:cubicBezTo>
                  <a:pt x="7727764" y="2407"/>
                  <a:pt x="7704225" y="4630086"/>
                  <a:pt x="7702688" y="5606669"/>
                </a:cubicBezTo>
                <a:cubicBezTo>
                  <a:pt x="7702688" y="5794761"/>
                  <a:pt x="7510452" y="5947240"/>
                  <a:pt x="7322360" y="5947240"/>
                </a:cubicBezTo>
                <a:lnTo>
                  <a:pt x="364016" y="5947240"/>
                </a:lnTo>
                <a:cubicBezTo>
                  <a:pt x="175924" y="5947240"/>
                  <a:pt x="7815" y="5786945"/>
                  <a:pt x="7815" y="5598853"/>
                </a:cubicBezTo>
                <a:lnTo>
                  <a:pt x="0" y="352027"/>
                </a:lnTo>
                <a:close/>
              </a:path>
            </a:pathLst>
          </a:custGeom>
          <a:solidFill>
            <a:schemeClr val="accent5"/>
          </a:solidFill>
        </p:spPr>
        <p:txBody>
          <a:bodyPr vert="horz" lIns="137160" tIns="274320" rIns="137160" bIns="274320" rtlCol="0" anchor="t" anchorCtr="0">
            <a:noAutofit/>
          </a:bodyPr>
          <a:lstStyle>
            <a:lvl1pPr marL="0" indent="0">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25" name="Slide Number Placeholder 24">
            <a:extLst>
              <a:ext uri="{FF2B5EF4-FFF2-40B4-BE49-F238E27FC236}">
                <a16:creationId xmlns:a16="http://schemas.microsoft.com/office/drawing/2014/main" id="{849A903B-4415-4646-B995-E47A9EDA5D8D}"/>
              </a:ext>
            </a:extLst>
          </p:cNvPr>
          <p:cNvSpPr>
            <a:spLocks noGrp="1"/>
          </p:cNvSpPr>
          <p:nvPr>
            <p:ph type="sldNum" sz="quarter" idx="13"/>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93235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1371600"/>
            <a:ext cx="11521440" cy="1828800"/>
          </a:xfrm>
        </p:spPr>
        <p:txBody>
          <a:bodyPr lIns="91440" rIns="91440" anchor="t" anchorCtr="0">
            <a:noAutofit/>
          </a:bodyPr>
          <a:lstStyle>
            <a:lvl1pPr algn="l">
              <a:defRPr sz="4000"/>
            </a:lvl1pPr>
          </a:lstStyle>
          <a:p>
            <a:r>
              <a:rPr lang="en-US"/>
              <a:t>Click to edit Master title style</a:t>
            </a:r>
            <a:endParaRPr lang="en-US" dirty="0"/>
          </a:p>
        </p:txBody>
      </p:sp>
      <p:pic>
        <p:nvPicPr>
          <p:cNvPr id="5" name="Graphic 4">
            <a:extLst>
              <a:ext uri="{FF2B5EF4-FFF2-40B4-BE49-F238E27FC236}">
                <a16:creationId xmlns:a16="http://schemas.microsoft.com/office/drawing/2014/main" id="{65A367CF-DC60-40EA-9DDA-9041D5B07D1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a:off x="4937760" y="3036696"/>
            <a:ext cx="7254240" cy="3821304"/>
          </a:xfrm>
          <a:prstGeom prst="rect">
            <a:avLst/>
          </a:prstGeom>
        </p:spPr>
      </p:pic>
    </p:spTree>
    <p:custDataLst>
      <p:tags r:id="rId1"/>
    </p:custDataLst>
    <p:extLst>
      <p:ext uri="{BB962C8B-B14F-4D97-AF65-F5344CB8AC3E}">
        <p14:creationId xmlns:p14="http://schemas.microsoft.com/office/powerpoint/2010/main" val="261835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ic 3x Rounded Corners 3:2: Brow and Text">
    <p:bg>
      <p:bgPr>
        <a:solidFill>
          <a:schemeClr val="bg1"/>
        </a:solidFill>
        <a:effectLst/>
      </p:bgPr>
    </p:bg>
    <p:spTree>
      <p:nvGrpSpPr>
        <p:cNvPr id="1" name=""/>
        <p:cNvGrpSpPr/>
        <p:nvPr/>
      </p:nvGrpSpPr>
      <p:grpSpPr>
        <a:xfrm>
          <a:off x="0" y="0"/>
          <a:ext cx="0" cy="0"/>
          <a:chOff x="0" y="0"/>
          <a:chExt cx="0" cy="0"/>
        </a:xfrm>
      </p:grpSpPr>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473076"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hasCustomPrompt="1"/>
          </p:nvPr>
        </p:nvSpPr>
        <p:spPr>
          <a:xfrm>
            <a:off x="473076" y="1164006"/>
            <a:ext cx="11245850" cy="2103120"/>
          </a:xfrm>
          <a:prstGeom prst="rect">
            <a:avLst/>
          </a:prstGeom>
        </p:spPr>
        <p:txBody>
          <a:bodyPr/>
          <a:lstStyle>
            <a:lvl1pPr marL="0" indent="0" algn="ctr">
              <a:buFont typeface="Arial" panose="020B0604020202020204" pitchFamily="34" charset="0"/>
              <a:buNone/>
              <a:defRPr sz="2000"/>
            </a:lvl1pPr>
          </a:lstStyle>
          <a:p>
            <a:pPr lvl="0"/>
            <a:r>
              <a:rPr lang="en-US" dirty="0"/>
              <a:t>Edit Master Styles</a:t>
            </a:r>
          </a:p>
        </p:txBody>
      </p:sp>
      <p:sp>
        <p:nvSpPr>
          <p:cNvPr id="2" name="Title 1">
            <a:extLst>
              <a:ext uri="{FF2B5EF4-FFF2-40B4-BE49-F238E27FC236}">
                <a16:creationId xmlns:a16="http://schemas.microsoft.com/office/drawing/2014/main" id="{244324FC-DA88-024C-B850-9A3B70FA296C}"/>
              </a:ext>
            </a:extLst>
          </p:cNvPr>
          <p:cNvSpPr>
            <a:spLocks noGrp="1"/>
          </p:cNvSpPr>
          <p:nvPr>
            <p:ph type="title"/>
          </p:nvPr>
        </p:nvSpPr>
        <p:spPr/>
        <p:txBody>
          <a:bodyPr/>
          <a:lstStyle/>
          <a:p>
            <a:r>
              <a:rPr lang="en-US"/>
              <a:t>Click to edit Master title style</a:t>
            </a:r>
          </a:p>
        </p:txBody>
      </p:sp>
      <p:sp>
        <p:nvSpPr>
          <p:cNvPr id="13" name="Picture Placeholder 4">
            <a:extLst>
              <a:ext uri="{FF2B5EF4-FFF2-40B4-BE49-F238E27FC236}">
                <a16:creationId xmlns:a16="http://schemas.microsoft.com/office/drawing/2014/main" id="{748BFDC7-BD18-0F4A-9CA2-B7EDF05E7E67}"/>
              </a:ext>
            </a:extLst>
          </p:cNvPr>
          <p:cNvSpPr>
            <a:spLocks noGrp="1"/>
          </p:cNvSpPr>
          <p:nvPr>
            <p:ph type="pic" sz="quarter" idx="22"/>
          </p:nvPr>
        </p:nvSpPr>
        <p:spPr>
          <a:xfrm>
            <a:off x="4267200"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4C630D1A-4F2A-EA4A-AEDE-FE3DFA175573}"/>
              </a:ext>
            </a:extLst>
          </p:cNvPr>
          <p:cNvSpPr>
            <a:spLocks noGrp="1"/>
          </p:cNvSpPr>
          <p:nvPr>
            <p:ph type="pic" sz="quarter" idx="23"/>
          </p:nvPr>
        </p:nvSpPr>
        <p:spPr>
          <a:xfrm>
            <a:off x="8067206"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5" name="Slide Number Placeholder 4">
            <a:extLst>
              <a:ext uri="{FF2B5EF4-FFF2-40B4-BE49-F238E27FC236}">
                <a16:creationId xmlns:a16="http://schemas.microsoft.com/office/drawing/2014/main" id="{107C7EC9-09B4-F944-9598-B2A5B748A788}"/>
              </a:ext>
            </a:extLst>
          </p:cNvPr>
          <p:cNvSpPr>
            <a:spLocks noGrp="1"/>
          </p:cNvSpPr>
          <p:nvPr>
            <p:ph type="sldNum" sz="quarter" idx="24"/>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18512081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ic 3x Corners 3:2: Brow and Tex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hasCustomPrompt="1"/>
          </p:nvPr>
        </p:nvSpPr>
        <p:spPr>
          <a:xfrm>
            <a:off x="473076" y="1164006"/>
            <a:ext cx="11245850" cy="2103120"/>
          </a:xfrm>
          <a:prstGeom prst="rect">
            <a:avLst/>
          </a:prstGeom>
        </p:spPr>
        <p:txBody>
          <a:bodyPr/>
          <a:lstStyle>
            <a:lvl1pPr marL="0" indent="0" algn="ctr">
              <a:buFont typeface="Arial" panose="020B0604020202020204" pitchFamily="34" charset="0"/>
              <a:buNone/>
              <a:defRPr sz="2000"/>
            </a:lvl1pPr>
          </a:lstStyle>
          <a:p>
            <a:pPr lvl="0"/>
            <a:r>
              <a:rPr lang="en-US" dirty="0"/>
              <a:t>Edit Master Styles</a:t>
            </a:r>
          </a:p>
        </p:txBody>
      </p:sp>
      <p:sp>
        <p:nvSpPr>
          <p:cNvPr id="2" name="Title 1">
            <a:extLst>
              <a:ext uri="{FF2B5EF4-FFF2-40B4-BE49-F238E27FC236}">
                <a16:creationId xmlns:a16="http://schemas.microsoft.com/office/drawing/2014/main" id="{244324FC-DA88-024C-B850-9A3B70FA29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07C7EC9-09B4-F944-9598-B2A5B748A788}"/>
              </a:ext>
            </a:extLst>
          </p:cNvPr>
          <p:cNvSpPr>
            <a:spLocks noGrp="1"/>
          </p:cNvSpPr>
          <p:nvPr>
            <p:ph type="sldNum" sz="quarter" idx="24"/>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11" name="Picture Placeholder 4">
            <a:extLst>
              <a:ext uri="{FF2B5EF4-FFF2-40B4-BE49-F238E27FC236}">
                <a16:creationId xmlns:a16="http://schemas.microsoft.com/office/drawing/2014/main" id="{81CDAB73-EF81-E241-816A-0BFA45F3BD7D}"/>
              </a:ext>
            </a:extLst>
          </p:cNvPr>
          <p:cNvSpPr>
            <a:spLocks noGrp="1"/>
          </p:cNvSpPr>
          <p:nvPr>
            <p:ph type="pic" sz="quarter" idx="10"/>
          </p:nvPr>
        </p:nvSpPr>
        <p:spPr>
          <a:xfrm>
            <a:off x="8061324" y="3749040"/>
            <a:ext cx="3663961"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2" name="Picture Placeholder 4">
            <a:extLst>
              <a:ext uri="{FF2B5EF4-FFF2-40B4-BE49-F238E27FC236}">
                <a16:creationId xmlns:a16="http://schemas.microsoft.com/office/drawing/2014/main" id="{8AB714AD-04ED-D14E-AA32-32ABD684B03D}"/>
              </a:ext>
            </a:extLst>
          </p:cNvPr>
          <p:cNvSpPr>
            <a:spLocks noGrp="1"/>
          </p:cNvSpPr>
          <p:nvPr>
            <p:ph type="pic" sz="quarter" idx="19"/>
          </p:nvPr>
        </p:nvSpPr>
        <p:spPr>
          <a:xfrm>
            <a:off x="4273082" y="3749040"/>
            <a:ext cx="3652196"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5" name="Picture Placeholder 4">
            <a:extLst>
              <a:ext uri="{FF2B5EF4-FFF2-40B4-BE49-F238E27FC236}">
                <a16:creationId xmlns:a16="http://schemas.microsoft.com/office/drawing/2014/main" id="{26D08B4C-08CB-DB42-9ACF-6D152954B296}"/>
              </a:ext>
            </a:extLst>
          </p:cNvPr>
          <p:cNvSpPr>
            <a:spLocks noGrp="1"/>
          </p:cNvSpPr>
          <p:nvPr>
            <p:ph type="pic" sz="quarter" idx="25"/>
          </p:nvPr>
        </p:nvSpPr>
        <p:spPr>
          <a:xfrm>
            <a:off x="473074" y="3749040"/>
            <a:ext cx="3652197"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Tree>
    <p:custDataLst>
      <p:tags r:id="rId1"/>
    </p:custDataLst>
    <p:extLst>
      <p:ext uri="{BB962C8B-B14F-4D97-AF65-F5344CB8AC3E}">
        <p14:creationId xmlns:p14="http://schemas.microsoft.com/office/powerpoint/2010/main" val="45371755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Pics 3x Square: Brow and Text">
    <p:bg>
      <p:bgPr>
        <a:solidFill>
          <a:schemeClr val="bg1"/>
        </a:solidFill>
        <a:effectLst/>
      </p:bgPr>
    </p:bg>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6880F47F-F674-B44C-A09F-58D1737190CB}"/>
              </a:ext>
            </a:extLst>
          </p:cNvPr>
          <p:cNvSpPr>
            <a:spLocks noGrp="1"/>
          </p:cNvSpPr>
          <p:nvPr>
            <p:ph type="pic" sz="quarter" idx="21"/>
          </p:nvPr>
        </p:nvSpPr>
        <p:spPr>
          <a:xfrm>
            <a:off x="4021071"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30D4F522-AF5A-F944-8A53-12A92CE142F3}"/>
              </a:ext>
            </a:extLst>
          </p:cNvPr>
          <p:cNvSpPr>
            <a:spLocks noGrp="1"/>
          </p:cNvSpPr>
          <p:nvPr>
            <p:ph type="pic" sz="quarter" idx="22"/>
          </p:nvPr>
        </p:nvSpPr>
        <p:spPr>
          <a:xfrm>
            <a:off x="6627111"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5" name="Picture Placeholder 4">
            <a:extLst>
              <a:ext uri="{FF2B5EF4-FFF2-40B4-BE49-F238E27FC236}">
                <a16:creationId xmlns:a16="http://schemas.microsoft.com/office/drawing/2014/main" id="{A64242F8-6C64-BC40-ADF5-0D67C98ABC5C}"/>
              </a:ext>
            </a:extLst>
          </p:cNvPr>
          <p:cNvSpPr>
            <a:spLocks noGrp="1"/>
          </p:cNvSpPr>
          <p:nvPr>
            <p:ph type="pic" sz="quarter" idx="23"/>
          </p:nvPr>
        </p:nvSpPr>
        <p:spPr>
          <a:xfrm>
            <a:off x="9229922"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3" name="Slide Number Placeholder 2">
            <a:extLst>
              <a:ext uri="{FF2B5EF4-FFF2-40B4-BE49-F238E27FC236}">
                <a16:creationId xmlns:a16="http://schemas.microsoft.com/office/drawing/2014/main" id="{23567A0B-1088-E047-9FB4-02B348956588}"/>
              </a:ext>
            </a:extLst>
          </p:cNvPr>
          <p:cNvSpPr>
            <a:spLocks noGrp="1"/>
          </p:cNvSpPr>
          <p:nvPr>
            <p:ph type="sldNum" sz="quarter" idx="24"/>
          </p:nvPr>
        </p:nvSpPr>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3">
            <a:extLst>
              <a:ext uri="{FF2B5EF4-FFF2-40B4-BE49-F238E27FC236}">
                <a16:creationId xmlns:a16="http://schemas.microsoft.com/office/drawing/2014/main" id="{0565A970-4684-2F4D-98F0-4F5379F1F21E}"/>
              </a:ext>
            </a:extLst>
          </p:cNvPr>
          <p:cNvSpPr>
            <a:spLocks noGrp="1"/>
          </p:cNvSpPr>
          <p:nvPr>
            <p:ph type="title"/>
          </p:nvPr>
        </p:nvSpPr>
        <p:spPr/>
        <p:txBody>
          <a:bodyPr/>
          <a:lstStyle/>
          <a:p>
            <a:r>
              <a:rPr lang="en-US"/>
              <a:t>Click to edit Master title style</a:t>
            </a:r>
          </a:p>
        </p:txBody>
      </p:sp>
      <p:sp>
        <p:nvSpPr>
          <p:cNvPr id="9" name="Text Placeholder 2">
            <a:extLst>
              <a:ext uri="{FF2B5EF4-FFF2-40B4-BE49-F238E27FC236}">
                <a16:creationId xmlns:a16="http://schemas.microsoft.com/office/drawing/2014/main" id="{02BDD42C-F253-0643-A91B-BB12DB92EA85}"/>
              </a:ext>
            </a:extLst>
          </p:cNvPr>
          <p:cNvSpPr>
            <a:spLocks noGrp="1"/>
          </p:cNvSpPr>
          <p:nvPr>
            <p:ph idx="1"/>
          </p:nvPr>
        </p:nvSpPr>
        <p:spPr>
          <a:xfrm>
            <a:off x="473075" y="1280160"/>
            <a:ext cx="3108325" cy="5120640"/>
          </a:xfrm>
          <a:prstGeom prst="rect">
            <a:avLst/>
          </a:prstGeom>
        </p:spPr>
        <p:txBody>
          <a:bodyPr vert="horz" lIns="137160" tIns="91440" rIns="137160" bIns="27432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1"/>
    </p:custDataLst>
    <p:extLst>
      <p:ext uri="{BB962C8B-B14F-4D97-AF65-F5344CB8AC3E}">
        <p14:creationId xmlns:p14="http://schemas.microsoft.com/office/powerpoint/2010/main" val="121133118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Pics 4x Grid: Brow &amp; Tex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6090624" y="3657599"/>
            <a:ext cx="2748576" cy="2746376"/>
          </a:xfrm>
          <a:custGeom>
            <a:avLst/>
            <a:gdLst>
              <a:gd name="connsiteX0" fmla="*/ 0 w 2743200"/>
              <a:gd name="connsiteY0" fmla="*/ 0 h 2743200"/>
              <a:gd name="connsiteX1" fmla="*/ 2743200 w 2743200"/>
              <a:gd name="connsiteY1" fmla="*/ 0 h 2743200"/>
              <a:gd name="connsiteX2" fmla="*/ 2743200 w 2743200"/>
              <a:gd name="connsiteY2" fmla="*/ 2743200 h 2743200"/>
              <a:gd name="connsiteX3" fmla="*/ 0 w 2743200"/>
              <a:gd name="connsiteY3" fmla="*/ 2743200 h 2743200"/>
              <a:gd name="connsiteX4" fmla="*/ 0 w 2743200"/>
              <a:gd name="connsiteY4" fmla="*/ 0 h 2743200"/>
              <a:gd name="connsiteX0" fmla="*/ 342900 w 3086100"/>
              <a:gd name="connsiteY0" fmla="*/ 0 h 3086100"/>
              <a:gd name="connsiteX1" fmla="*/ 3086100 w 3086100"/>
              <a:gd name="connsiteY1" fmla="*/ 0 h 3086100"/>
              <a:gd name="connsiteX2" fmla="*/ 3086100 w 3086100"/>
              <a:gd name="connsiteY2" fmla="*/ 2743200 h 3086100"/>
              <a:gd name="connsiteX3" fmla="*/ 342900 w 3086100"/>
              <a:gd name="connsiteY3" fmla="*/ 2743200 h 3086100"/>
              <a:gd name="connsiteX4" fmla="*/ 342900 w 3086100"/>
              <a:gd name="connsiteY4" fmla="*/ 0 h 3086100"/>
              <a:gd name="connsiteX0" fmla="*/ 348767 w 3091967"/>
              <a:gd name="connsiteY0" fmla="*/ 0 h 3011102"/>
              <a:gd name="connsiteX1" fmla="*/ 3091967 w 3091967"/>
              <a:gd name="connsiteY1" fmla="*/ 0 h 3011102"/>
              <a:gd name="connsiteX2" fmla="*/ 3091967 w 3091967"/>
              <a:gd name="connsiteY2" fmla="*/ 2743200 h 3011102"/>
              <a:gd name="connsiteX3" fmla="*/ 337143 w 3091967"/>
              <a:gd name="connsiteY3" fmla="*/ 2568844 h 3011102"/>
              <a:gd name="connsiteX4" fmla="*/ 348767 w 3091967"/>
              <a:gd name="connsiteY4" fmla="*/ 0 h 3011102"/>
              <a:gd name="connsiteX0" fmla="*/ 206259 w 2949459"/>
              <a:gd name="connsiteY0" fmla="*/ 0 h 2924885"/>
              <a:gd name="connsiteX1" fmla="*/ 2949459 w 2949459"/>
              <a:gd name="connsiteY1" fmla="*/ 0 h 2924885"/>
              <a:gd name="connsiteX2" fmla="*/ 2949459 w 2949459"/>
              <a:gd name="connsiteY2" fmla="*/ 2743200 h 2924885"/>
              <a:gd name="connsiteX3" fmla="*/ 194635 w 2949459"/>
              <a:gd name="connsiteY3" fmla="*/ 2568844 h 2924885"/>
              <a:gd name="connsiteX4" fmla="*/ 206259 w 2949459"/>
              <a:gd name="connsiteY4" fmla="*/ 0 h 2924885"/>
              <a:gd name="connsiteX0" fmla="*/ 11624 w 2754824"/>
              <a:gd name="connsiteY0" fmla="*/ 0 h 2924885"/>
              <a:gd name="connsiteX1" fmla="*/ 2754824 w 2754824"/>
              <a:gd name="connsiteY1" fmla="*/ 0 h 2924885"/>
              <a:gd name="connsiteX2" fmla="*/ 2754824 w 2754824"/>
              <a:gd name="connsiteY2" fmla="*/ 2743200 h 2924885"/>
              <a:gd name="connsiteX3" fmla="*/ 0 w 2754824"/>
              <a:gd name="connsiteY3" fmla="*/ 2568844 h 2924885"/>
              <a:gd name="connsiteX4" fmla="*/ 11624 w 2754824"/>
              <a:gd name="connsiteY4" fmla="*/ 0 h 2924885"/>
              <a:gd name="connsiteX0" fmla="*/ 64001 w 2807201"/>
              <a:gd name="connsiteY0" fmla="*/ 0 h 2925673"/>
              <a:gd name="connsiteX1" fmla="*/ 2807201 w 2807201"/>
              <a:gd name="connsiteY1" fmla="*/ 0 h 2925673"/>
              <a:gd name="connsiteX2" fmla="*/ 2807201 w 2807201"/>
              <a:gd name="connsiteY2" fmla="*/ 2743200 h 2925673"/>
              <a:gd name="connsiteX3" fmla="*/ 268062 w 2807201"/>
              <a:gd name="connsiteY3" fmla="*/ 2657960 h 2925673"/>
              <a:gd name="connsiteX4" fmla="*/ 52377 w 2807201"/>
              <a:gd name="connsiteY4" fmla="*/ 2568844 h 2925673"/>
              <a:gd name="connsiteX5" fmla="*/ 64001 w 2807201"/>
              <a:gd name="connsiteY5" fmla="*/ 0 h 2925673"/>
              <a:gd name="connsiteX0" fmla="*/ 93513 w 2836713"/>
              <a:gd name="connsiteY0" fmla="*/ 0 h 2946704"/>
              <a:gd name="connsiteX1" fmla="*/ 2836713 w 2836713"/>
              <a:gd name="connsiteY1" fmla="*/ 0 h 2946704"/>
              <a:gd name="connsiteX2" fmla="*/ 2836713 w 2836713"/>
              <a:gd name="connsiteY2" fmla="*/ 2743200 h 2946704"/>
              <a:gd name="connsiteX3" fmla="*/ 251079 w 2836713"/>
              <a:gd name="connsiteY3" fmla="*/ 2743201 h 2946704"/>
              <a:gd name="connsiteX4" fmla="*/ 81889 w 2836713"/>
              <a:gd name="connsiteY4" fmla="*/ 2568844 h 2946704"/>
              <a:gd name="connsiteX5" fmla="*/ 93513 w 2836713"/>
              <a:gd name="connsiteY5" fmla="*/ 0 h 2946704"/>
              <a:gd name="connsiteX0" fmla="*/ 21496 w 2764696"/>
              <a:gd name="connsiteY0" fmla="*/ 0 h 2946704"/>
              <a:gd name="connsiteX1" fmla="*/ 2764696 w 2764696"/>
              <a:gd name="connsiteY1" fmla="*/ 0 h 2946704"/>
              <a:gd name="connsiteX2" fmla="*/ 2764696 w 2764696"/>
              <a:gd name="connsiteY2" fmla="*/ 2743200 h 2946704"/>
              <a:gd name="connsiteX3" fmla="*/ 179062 w 2764696"/>
              <a:gd name="connsiteY3" fmla="*/ 2743201 h 2946704"/>
              <a:gd name="connsiteX4" fmla="*/ 9872 w 2764696"/>
              <a:gd name="connsiteY4" fmla="*/ 2568844 h 2946704"/>
              <a:gd name="connsiteX5" fmla="*/ 21496 w 2764696"/>
              <a:gd name="connsiteY5" fmla="*/ 0 h 2946704"/>
              <a:gd name="connsiteX0" fmla="*/ 11927 w 2755127"/>
              <a:gd name="connsiteY0" fmla="*/ 0 h 2946704"/>
              <a:gd name="connsiteX1" fmla="*/ 2755127 w 2755127"/>
              <a:gd name="connsiteY1" fmla="*/ 0 h 2946704"/>
              <a:gd name="connsiteX2" fmla="*/ 2755127 w 2755127"/>
              <a:gd name="connsiteY2" fmla="*/ 2743200 h 2946704"/>
              <a:gd name="connsiteX3" fmla="*/ 169493 w 2755127"/>
              <a:gd name="connsiteY3" fmla="*/ 2743201 h 2946704"/>
              <a:gd name="connsiteX4" fmla="*/ 303 w 2755127"/>
              <a:gd name="connsiteY4" fmla="*/ 2568844 h 2946704"/>
              <a:gd name="connsiteX5" fmla="*/ 11927 w 2755127"/>
              <a:gd name="connsiteY5" fmla="*/ 0 h 2946704"/>
              <a:gd name="connsiteX0" fmla="*/ 5611 w 2748811"/>
              <a:gd name="connsiteY0" fmla="*/ 0 h 2946704"/>
              <a:gd name="connsiteX1" fmla="*/ 2748811 w 2748811"/>
              <a:gd name="connsiteY1" fmla="*/ 0 h 2946704"/>
              <a:gd name="connsiteX2" fmla="*/ 2748811 w 2748811"/>
              <a:gd name="connsiteY2" fmla="*/ 2743200 h 2946704"/>
              <a:gd name="connsiteX3" fmla="*/ 163177 w 2748811"/>
              <a:gd name="connsiteY3" fmla="*/ 2743201 h 2946704"/>
              <a:gd name="connsiteX4" fmla="*/ 337 w 2748811"/>
              <a:gd name="connsiteY4" fmla="*/ 2527569 h 2946704"/>
              <a:gd name="connsiteX5" fmla="*/ 5611 w 2748811"/>
              <a:gd name="connsiteY5" fmla="*/ 0 h 2946704"/>
              <a:gd name="connsiteX0" fmla="*/ 18815 w 2762015"/>
              <a:gd name="connsiteY0" fmla="*/ 0 h 2947578"/>
              <a:gd name="connsiteX1" fmla="*/ 2762015 w 2762015"/>
              <a:gd name="connsiteY1" fmla="*/ 0 h 2947578"/>
              <a:gd name="connsiteX2" fmla="*/ 2762015 w 2762015"/>
              <a:gd name="connsiteY2" fmla="*/ 2743200 h 2947578"/>
              <a:gd name="connsiteX3" fmla="*/ 208131 w 2762015"/>
              <a:gd name="connsiteY3" fmla="*/ 2746376 h 2947578"/>
              <a:gd name="connsiteX4" fmla="*/ 13541 w 2762015"/>
              <a:gd name="connsiteY4" fmla="*/ 2527569 h 2947578"/>
              <a:gd name="connsiteX5" fmla="*/ 18815 w 2762015"/>
              <a:gd name="connsiteY5" fmla="*/ 0 h 2947578"/>
              <a:gd name="connsiteX0" fmla="*/ 5275 w 2748475"/>
              <a:gd name="connsiteY0" fmla="*/ 0 h 2947578"/>
              <a:gd name="connsiteX1" fmla="*/ 2748475 w 2748475"/>
              <a:gd name="connsiteY1" fmla="*/ 0 h 2947578"/>
              <a:gd name="connsiteX2" fmla="*/ 2748475 w 2748475"/>
              <a:gd name="connsiteY2" fmla="*/ 2743200 h 2947578"/>
              <a:gd name="connsiteX3" fmla="*/ 194591 w 2748475"/>
              <a:gd name="connsiteY3" fmla="*/ 2746376 h 2947578"/>
              <a:gd name="connsiteX4" fmla="*/ 1 w 2748475"/>
              <a:gd name="connsiteY4" fmla="*/ 2527569 h 2947578"/>
              <a:gd name="connsiteX5" fmla="*/ 5275 w 2748475"/>
              <a:gd name="connsiteY5" fmla="*/ 0 h 2947578"/>
              <a:gd name="connsiteX0" fmla="*/ 5376 w 2748576"/>
              <a:gd name="connsiteY0" fmla="*/ 0 h 2947578"/>
              <a:gd name="connsiteX1" fmla="*/ 2748576 w 2748576"/>
              <a:gd name="connsiteY1" fmla="*/ 0 h 2947578"/>
              <a:gd name="connsiteX2" fmla="*/ 2748576 w 2748576"/>
              <a:gd name="connsiteY2" fmla="*/ 2743200 h 2947578"/>
              <a:gd name="connsiteX3" fmla="*/ 194692 w 2748576"/>
              <a:gd name="connsiteY3" fmla="*/ 2746376 h 2947578"/>
              <a:gd name="connsiteX4" fmla="*/ 102 w 2748576"/>
              <a:gd name="connsiteY4" fmla="*/ 2527569 h 2947578"/>
              <a:gd name="connsiteX5" fmla="*/ 5376 w 2748576"/>
              <a:gd name="connsiteY5" fmla="*/ 0 h 2947578"/>
              <a:gd name="connsiteX0" fmla="*/ 5376 w 2748576"/>
              <a:gd name="connsiteY0" fmla="*/ 0 h 2940311"/>
              <a:gd name="connsiteX1" fmla="*/ 2748576 w 2748576"/>
              <a:gd name="connsiteY1" fmla="*/ 0 h 2940311"/>
              <a:gd name="connsiteX2" fmla="*/ 2748576 w 2748576"/>
              <a:gd name="connsiteY2" fmla="*/ 2743200 h 2940311"/>
              <a:gd name="connsiteX3" fmla="*/ 194692 w 2748576"/>
              <a:gd name="connsiteY3" fmla="*/ 2746376 h 2940311"/>
              <a:gd name="connsiteX4" fmla="*/ 102 w 2748576"/>
              <a:gd name="connsiteY4" fmla="*/ 2527569 h 2940311"/>
              <a:gd name="connsiteX5" fmla="*/ 5376 w 2748576"/>
              <a:gd name="connsiteY5" fmla="*/ 0 h 2940311"/>
              <a:gd name="connsiteX0" fmla="*/ 5376 w 2748576"/>
              <a:gd name="connsiteY0" fmla="*/ 0 h 2746376"/>
              <a:gd name="connsiteX1" fmla="*/ 2748576 w 2748576"/>
              <a:gd name="connsiteY1" fmla="*/ 0 h 2746376"/>
              <a:gd name="connsiteX2" fmla="*/ 2748576 w 2748576"/>
              <a:gd name="connsiteY2" fmla="*/ 2743200 h 2746376"/>
              <a:gd name="connsiteX3" fmla="*/ 194692 w 2748576"/>
              <a:gd name="connsiteY3" fmla="*/ 2746376 h 2746376"/>
              <a:gd name="connsiteX4" fmla="*/ 102 w 2748576"/>
              <a:gd name="connsiteY4" fmla="*/ 2527569 h 2746376"/>
              <a:gd name="connsiteX5" fmla="*/ 5376 w 2748576"/>
              <a:gd name="connsiteY5" fmla="*/ 0 h 274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8576" h="2746376">
                <a:moveTo>
                  <a:pt x="5376" y="0"/>
                </a:moveTo>
                <a:lnTo>
                  <a:pt x="2748576" y="0"/>
                </a:lnTo>
                <a:lnTo>
                  <a:pt x="2748576" y="2743200"/>
                </a:lnTo>
                <a:cubicBezTo>
                  <a:pt x="2430894" y="2748532"/>
                  <a:pt x="476029" y="2743685"/>
                  <a:pt x="194692" y="2746376"/>
                </a:cubicBezTo>
                <a:cubicBezTo>
                  <a:pt x="76518" y="2740565"/>
                  <a:pt x="-3270" y="2636048"/>
                  <a:pt x="102" y="2527569"/>
                </a:cubicBezTo>
                <a:cubicBezTo>
                  <a:pt x="3474" y="2419090"/>
                  <a:pt x="1501" y="519194"/>
                  <a:pt x="5376" y="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8976360" y="457200"/>
            <a:ext cx="2743200" cy="2514599"/>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6092698" y="457200"/>
            <a:ext cx="2749295" cy="3063240"/>
          </a:xfrm>
          <a:custGeom>
            <a:avLst/>
            <a:gdLst>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365516 w 2743200"/>
              <a:gd name="connsiteY4" fmla="*/ 3063240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821480"/>
              <a:gd name="connsiteY0" fmla="*/ 0 h 3063240"/>
              <a:gd name="connsiteX1" fmla="*/ 2743200 w 2821480"/>
              <a:gd name="connsiteY1" fmla="*/ 0 h 3063240"/>
              <a:gd name="connsiteX2" fmla="*/ 2743200 w 2821480"/>
              <a:gd name="connsiteY2" fmla="*/ 0 h 3063240"/>
              <a:gd name="connsiteX3" fmla="*/ 2743200 w 2821480"/>
              <a:gd name="connsiteY3" fmla="*/ 2685556 h 3063240"/>
              <a:gd name="connsiteX4" fmla="*/ 2723325 w 2821480"/>
              <a:gd name="connsiteY4" fmla="*/ 3053301 h 3063240"/>
              <a:gd name="connsiteX5" fmla="*/ 0 w 2821480"/>
              <a:gd name="connsiteY5" fmla="*/ 3063240 h 3063240"/>
              <a:gd name="connsiteX6" fmla="*/ 0 w 2821480"/>
              <a:gd name="connsiteY6" fmla="*/ 3063240 h 3063240"/>
              <a:gd name="connsiteX7" fmla="*/ 0 w 2821480"/>
              <a:gd name="connsiteY7" fmla="*/ 377684 h 3063240"/>
              <a:gd name="connsiteX8" fmla="*/ 377684 w 2821480"/>
              <a:gd name="connsiteY8" fmla="*/ 0 h 3063240"/>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723325 w 2743200"/>
              <a:gd name="connsiteY4" fmla="*/ 3053301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745994"/>
              <a:gd name="connsiteY0" fmla="*/ 0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77684 w 2745994"/>
              <a:gd name="connsiteY8" fmla="*/ 0 h 3063240"/>
              <a:gd name="connsiteX0" fmla="*/ 318264 w 2745994"/>
              <a:gd name="connsiteY0" fmla="*/ 3301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18264 w 2745994"/>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31469 h 3063240"/>
              <a:gd name="connsiteX8" fmla="*/ 321565 w 2749295"/>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14963 h 3063240"/>
              <a:gd name="connsiteX8" fmla="*/ 321565 w 2749295"/>
              <a:gd name="connsiteY8" fmla="*/ 3301 h 306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9295" h="3063240">
                <a:moveTo>
                  <a:pt x="321565" y="3301"/>
                </a:moveTo>
                <a:lnTo>
                  <a:pt x="2746501" y="0"/>
                </a:lnTo>
                <a:lnTo>
                  <a:pt x="2746501" y="0"/>
                </a:lnTo>
                <a:lnTo>
                  <a:pt x="2746501" y="2685556"/>
                </a:lnTo>
                <a:cubicBezTo>
                  <a:pt x="2746501" y="2894145"/>
                  <a:pt x="2753110" y="3061050"/>
                  <a:pt x="2745999" y="3057175"/>
                </a:cubicBezTo>
                <a:cubicBezTo>
                  <a:pt x="2738888" y="3053300"/>
                  <a:pt x="911076" y="3059927"/>
                  <a:pt x="3301" y="3063240"/>
                </a:cubicBezTo>
                <a:lnTo>
                  <a:pt x="3301" y="3063240"/>
                </a:lnTo>
                <a:cubicBezTo>
                  <a:pt x="2201" y="2152650"/>
                  <a:pt x="1100" y="1225553"/>
                  <a:pt x="0" y="314963"/>
                </a:cubicBezTo>
                <a:cubicBezTo>
                  <a:pt x="0" y="106374"/>
                  <a:pt x="112976" y="3301"/>
                  <a:pt x="321565" y="3301"/>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65CB4C76-4971-1948-BAE9-D05A032525DA}"/>
              </a:ext>
            </a:extLst>
          </p:cNvPr>
          <p:cNvSpPr>
            <a:spLocks noGrp="1"/>
          </p:cNvSpPr>
          <p:nvPr>
            <p:ph type="pic" sz="quarter" idx="23"/>
          </p:nvPr>
        </p:nvSpPr>
        <p:spPr>
          <a:xfrm>
            <a:off x="8975814" y="3108960"/>
            <a:ext cx="2743746" cy="3291840"/>
          </a:xfrm>
          <a:custGeom>
            <a:avLst/>
            <a:gdLst>
              <a:gd name="connsiteX0" fmla="*/ 232349 w 2743200"/>
              <a:gd name="connsiteY0" fmla="*/ 0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232349 w 2743200"/>
              <a:gd name="connsiteY8" fmla="*/ 0 h 3291840"/>
              <a:gd name="connsiteX0" fmla="*/ 59043 w 2794746"/>
              <a:gd name="connsiteY0" fmla="*/ 3747 h 3291840"/>
              <a:gd name="connsiteX1" fmla="*/ 2794746 w 2794746"/>
              <a:gd name="connsiteY1" fmla="*/ 0 h 3291840"/>
              <a:gd name="connsiteX2" fmla="*/ 2794746 w 2794746"/>
              <a:gd name="connsiteY2" fmla="*/ 0 h 3291840"/>
              <a:gd name="connsiteX3" fmla="*/ 2794746 w 2794746"/>
              <a:gd name="connsiteY3" fmla="*/ 3059491 h 3291840"/>
              <a:gd name="connsiteX4" fmla="*/ 2562397 w 2794746"/>
              <a:gd name="connsiteY4" fmla="*/ 3291840 h 3291840"/>
              <a:gd name="connsiteX5" fmla="*/ 51546 w 2794746"/>
              <a:gd name="connsiteY5" fmla="*/ 3291840 h 3291840"/>
              <a:gd name="connsiteX6" fmla="*/ 51546 w 2794746"/>
              <a:gd name="connsiteY6" fmla="*/ 3291840 h 3291840"/>
              <a:gd name="connsiteX7" fmla="*/ 51546 w 2794746"/>
              <a:gd name="connsiteY7" fmla="*/ 232349 h 3291840"/>
              <a:gd name="connsiteX8" fmla="*/ 59043 w 2794746"/>
              <a:gd name="connsiteY8" fmla="*/ 3747 h 3291840"/>
              <a:gd name="connsiteX0" fmla="*/ 7497 w 2743200"/>
              <a:gd name="connsiteY0" fmla="*/ 3747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7497 w 2743200"/>
              <a:gd name="connsiteY8" fmla="*/ 3747 h 3291840"/>
              <a:gd name="connsiteX0" fmla="*/ 68 w 2750761"/>
              <a:gd name="connsiteY0" fmla="*/ 7495 h 3291840"/>
              <a:gd name="connsiteX1" fmla="*/ 2750761 w 2750761"/>
              <a:gd name="connsiteY1" fmla="*/ 0 h 3291840"/>
              <a:gd name="connsiteX2" fmla="*/ 2750761 w 2750761"/>
              <a:gd name="connsiteY2" fmla="*/ 0 h 3291840"/>
              <a:gd name="connsiteX3" fmla="*/ 2750761 w 2750761"/>
              <a:gd name="connsiteY3" fmla="*/ 3059491 h 3291840"/>
              <a:gd name="connsiteX4" fmla="*/ 2518412 w 2750761"/>
              <a:gd name="connsiteY4" fmla="*/ 3291840 h 3291840"/>
              <a:gd name="connsiteX5" fmla="*/ 7561 w 2750761"/>
              <a:gd name="connsiteY5" fmla="*/ 3291840 h 3291840"/>
              <a:gd name="connsiteX6" fmla="*/ 7561 w 2750761"/>
              <a:gd name="connsiteY6" fmla="*/ 3291840 h 3291840"/>
              <a:gd name="connsiteX7" fmla="*/ 7561 w 2750761"/>
              <a:gd name="connsiteY7" fmla="*/ 232349 h 3291840"/>
              <a:gd name="connsiteX8" fmla="*/ 68 w 2750761"/>
              <a:gd name="connsiteY8" fmla="*/ 7495 h 3291840"/>
              <a:gd name="connsiteX0" fmla="*/ 0 w 2750693"/>
              <a:gd name="connsiteY0" fmla="*/ 7495 h 3291840"/>
              <a:gd name="connsiteX1" fmla="*/ 2750693 w 2750693"/>
              <a:gd name="connsiteY1" fmla="*/ 0 h 3291840"/>
              <a:gd name="connsiteX2" fmla="*/ 2750693 w 2750693"/>
              <a:gd name="connsiteY2" fmla="*/ 0 h 3291840"/>
              <a:gd name="connsiteX3" fmla="*/ 2750693 w 2750693"/>
              <a:gd name="connsiteY3" fmla="*/ 3059491 h 3291840"/>
              <a:gd name="connsiteX4" fmla="*/ 2518344 w 2750693"/>
              <a:gd name="connsiteY4" fmla="*/ 3291840 h 3291840"/>
              <a:gd name="connsiteX5" fmla="*/ 7493 w 2750693"/>
              <a:gd name="connsiteY5" fmla="*/ 3291840 h 3291840"/>
              <a:gd name="connsiteX6" fmla="*/ 7493 w 2750693"/>
              <a:gd name="connsiteY6" fmla="*/ 3291840 h 3291840"/>
              <a:gd name="connsiteX7" fmla="*/ 0 w 2750693"/>
              <a:gd name="connsiteY7" fmla="*/ 7495 h 3291840"/>
              <a:gd name="connsiteX0" fmla="*/ 2578 w 2743746"/>
              <a:gd name="connsiteY0" fmla="*/ 4320 h 3291840"/>
              <a:gd name="connsiteX1" fmla="*/ 2743746 w 2743746"/>
              <a:gd name="connsiteY1" fmla="*/ 0 h 3291840"/>
              <a:gd name="connsiteX2" fmla="*/ 2743746 w 2743746"/>
              <a:gd name="connsiteY2" fmla="*/ 0 h 3291840"/>
              <a:gd name="connsiteX3" fmla="*/ 2743746 w 2743746"/>
              <a:gd name="connsiteY3" fmla="*/ 3059491 h 3291840"/>
              <a:gd name="connsiteX4" fmla="*/ 2511397 w 2743746"/>
              <a:gd name="connsiteY4" fmla="*/ 3291840 h 3291840"/>
              <a:gd name="connsiteX5" fmla="*/ 546 w 2743746"/>
              <a:gd name="connsiteY5" fmla="*/ 3291840 h 3291840"/>
              <a:gd name="connsiteX6" fmla="*/ 546 w 2743746"/>
              <a:gd name="connsiteY6" fmla="*/ 3291840 h 3291840"/>
              <a:gd name="connsiteX7" fmla="*/ 2578 w 2743746"/>
              <a:gd name="connsiteY7" fmla="*/ 432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746" h="3291840">
                <a:moveTo>
                  <a:pt x="2578" y="4320"/>
                </a:moveTo>
                <a:lnTo>
                  <a:pt x="2743746" y="0"/>
                </a:lnTo>
                <a:lnTo>
                  <a:pt x="2743746" y="0"/>
                </a:lnTo>
                <a:lnTo>
                  <a:pt x="2743746" y="3059491"/>
                </a:lnTo>
                <a:cubicBezTo>
                  <a:pt x="2743746" y="3187814"/>
                  <a:pt x="2639720" y="3291840"/>
                  <a:pt x="2511397" y="3291840"/>
                </a:cubicBezTo>
                <a:lnTo>
                  <a:pt x="546" y="3291840"/>
                </a:lnTo>
                <a:lnTo>
                  <a:pt x="546" y="3291840"/>
                </a:lnTo>
                <a:cubicBezTo>
                  <a:pt x="-1952" y="2197058"/>
                  <a:pt x="5076" y="1099102"/>
                  <a:pt x="2578" y="432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0" name="Content Placeholder 5">
            <a:extLst>
              <a:ext uri="{FF2B5EF4-FFF2-40B4-BE49-F238E27FC236}">
                <a16:creationId xmlns:a16="http://schemas.microsoft.com/office/drawing/2014/main" id="{DF44E331-A46F-418D-9D7E-A5E1C5DD2362}"/>
              </a:ext>
            </a:extLst>
          </p:cNvPr>
          <p:cNvSpPr>
            <a:spLocks noGrp="1"/>
          </p:cNvSpPr>
          <p:nvPr>
            <p:ph sz="quarter" idx="11"/>
          </p:nvPr>
        </p:nvSpPr>
        <p:spPr>
          <a:xfrm>
            <a:off x="473075" y="1289010"/>
            <a:ext cx="5165725" cy="5111790"/>
          </a:xfrm>
          <a:prstGeom prst="rect">
            <a:avLst/>
          </a:prstGeom>
        </p:spPr>
        <p:txBody>
          <a:bodyPr anchor="ctr" anchorCtr="0"/>
          <a:lstStyle>
            <a:lvl1pPr marL="285750" indent="-285750">
              <a:buClr>
                <a:schemeClr val="tx1"/>
              </a:buClr>
              <a:buFontTx/>
              <a:buBlip>
                <a:blip r:embed="rId3"/>
              </a:buBlip>
              <a:defRPr sz="2000">
                <a:solidFill>
                  <a:schemeClr val="tx1"/>
                </a:solidFill>
              </a:defRPr>
            </a:lvl1pPr>
            <a:lvl2pPr>
              <a:buClr>
                <a:schemeClr val="tx1"/>
              </a:buClr>
              <a:defRPr sz="1600">
                <a:solidFill>
                  <a:schemeClr val="tx1"/>
                </a:solidFill>
              </a:defRPr>
            </a:lvl2pPr>
            <a:lvl3pPr>
              <a:buClr>
                <a:schemeClr val="tx1"/>
              </a:buClr>
              <a:defRPr sz="1600">
                <a:solidFill>
                  <a:schemeClr val="tx1"/>
                </a:solidFill>
              </a:defRPr>
            </a:lvl3pPr>
            <a:lvl4pPr>
              <a:buClr>
                <a:schemeClr val="tx1"/>
              </a:buClr>
              <a:defRPr sz="1600">
                <a:solidFill>
                  <a:schemeClr val="tx1"/>
                </a:solidFill>
              </a:defRPr>
            </a:lvl4pPr>
            <a:lvl5pPr>
              <a:buClr>
                <a:schemeClr val="tx1"/>
              </a:buCl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C674C62-10A3-0F47-ADDB-FD34F1BBDD11}"/>
              </a:ext>
            </a:extLst>
          </p:cNvPr>
          <p:cNvSpPr>
            <a:spLocks noGrp="1"/>
          </p:cNvSpPr>
          <p:nvPr>
            <p:ph type="title"/>
          </p:nvPr>
        </p:nvSpPr>
        <p:spPr>
          <a:xfrm>
            <a:off x="473075" y="465927"/>
            <a:ext cx="5165725" cy="640080"/>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979A9B-1009-BE4D-B89C-EBFA57F7ECBA}"/>
              </a:ext>
            </a:extLst>
          </p:cNvPr>
          <p:cNvSpPr>
            <a:spLocks noGrp="1"/>
          </p:cNvSpPr>
          <p:nvPr>
            <p:ph type="sldNum" sz="quarter" idx="2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93894436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Speedee"/>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tint val="75000"/>
                </a:srgbClr>
              </a:solidFill>
              <a:effectLst/>
              <a:uLnTx/>
              <a:uFillTx/>
              <a:latin typeface="Speedee"/>
              <a:ea typeface="+mn-ea"/>
              <a:cs typeface="+mn-cs"/>
            </a:endParaRP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3A493F-BF4F-4124-8E14-8EDC3C4F5746}" type="slidenum">
              <a:rPr kumimoji="0" lang="en-AU"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a:ln>
                <a:noFill/>
              </a:ln>
              <a:solidFill>
                <a:srgbClr val="000000"/>
              </a:solidFill>
              <a:effectLst/>
              <a:uLnTx/>
              <a:uFillTx/>
              <a:latin typeface="Speedee"/>
              <a:ea typeface="+mn-ea"/>
              <a:cs typeface="+mn-cs"/>
            </a:endParaRPr>
          </a:p>
        </p:txBody>
      </p:sp>
    </p:spTree>
    <p:extLst>
      <p:ext uri="{BB962C8B-B14F-4D97-AF65-F5344CB8AC3E}">
        <p14:creationId xmlns:p14="http://schemas.microsoft.com/office/powerpoint/2010/main" val="7781187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w/ gold bar">
    <p:spTree>
      <p:nvGrpSpPr>
        <p:cNvPr id="1" name=""/>
        <p:cNvGrpSpPr/>
        <p:nvPr/>
      </p:nvGrpSpPr>
      <p:grpSpPr>
        <a:xfrm>
          <a:off x="0" y="0"/>
          <a:ext cx="0" cy="0"/>
          <a:chOff x="0" y="0"/>
          <a:chExt cx="0" cy="0"/>
        </a:xfrm>
      </p:grpSpPr>
      <p:sp>
        <p:nvSpPr>
          <p:cNvPr id="6" name="Gold Bar">
            <a:extLst>
              <a:ext uri="{FF2B5EF4-FFF2-40B4-BE49-F238E27FC236}">
                <a16:creationId xmlns:a16="http://schemas.microsoft.com/office/drawing/2014/main" id="{C4C58F74-946F-46D3-A965-FD956A9F1015}"/>
              </a:ext>
            </a:extLst>
          </p:cNvPr>
          <p:cNvSpPr/>
          <p:nvPr/>
        </p:nvSpPr>
        <p:spPr>
          <a:xfrm>
            <a:off x="0" y="0"/>
            <a:ext cx="12192000" cy="182880"/>
          </a:xfrm>
          <a:prstGeom prst="rect">
            <a:avLst/>
          </a:prstGeom>
          <a:solidFill>
            <a:srgbClr val="FFB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srgbClr val="FFFFFF"/>
              </a:solidFill>
              <a:effectLst/>
              <a:uLnTx/>
              <a:uFillTx/>
              <a:latin typeface="Speedee"/>
              <a:ea typeface="+mn-ea"/>
              <a:cs typeface="+mn-cs"/>
            </a:endParaRPr>
          </a:p>
        </p:txBody>
      </p:sp>
      <p:sp>
        <p:nvSpPr>
          <p:cNvPr id="3" name="Title">
            <a:extLst>
              <a:ext uri="{FF2B5EF4-FFF2-40B4-BE49-F238E27FC236}">
                <a16:creationId xmlns:a16="http://schemas.microsoft.com/office/drawing/2014/main" id="{5BE6DB5E-0E37-4144-BDF7-0F5BBEDF68A6}"/>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88844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Only w/ Brow">
    <p:spTree>
      <p:nvGrpSpPr>
        <p:cNvPr id="1" name=""/>
        <p:cNvGrpSpPr/>
        <p:nvPr/>
      </p:nvGrpSpPr>
      <p:grpSpPr>
        <a:xfrm>
          <a:off x="0" y="0"/>
          <a:ext cx="0" cy="0"/>
          <a:chOff x="0" y="0"/>
          <a:chExt cx="0" cy="0"/>
        </a:xfrm>
      </p:grpSpPr>
      <p:grpSp>
        <p:nvGrpSpPr>
          <p:cNvPr id="7" name="brow">
            <a:extLst>
              <a:ext uri="{FF2B5EF4-FFF2-40B4-BE49-F238E27FC236}">
                <a16:creationId xmlns:a16="http://schemas.microsoft.com/office/drawing/2014/main" id="{48D18D2C-3CAC-4960-81EF-43B50030760B}"/>
              </a:ext>
            </a:extLst>
          </p:cNvPr>
          <p:cNvGrpSpPr/>
          <p:nvPr/>
        </p:nvGrpSpPr>
        <p:grpSpPr>
          <a:xfrm>
            <a:off x="10027920" y="228600"/>
            <a:ext cx="1828800" cy="914400"/>
            <a:chOff x="10027920" y="2606040"/>
            <a:chExt cx="1828800" cy="914400"/>
          </a:xfrm>
          <a:solidFill>
            <a:schemeClr val="accent1"/>
          </a:solidFill>
        </p:grpSpPr>
        <p:sp>
          <p:nvSpPr>
            <p:cNvPr id="8" name="Rectangle 7">
              <a:extLst>
                <a:ext uri="{FF2B5EF4-FFF2-40B4-BE49-F238E27FC236}">
                  <a16:creationId xmlns:a16="http://schemas.microsoft.com/office/drawing/2014/main" id="{072916CA-482F-410B-8F5F-999B8A5606B0}"/>
                </a:ext>
              </a:extLst>
            </p:cNvPr>
            <p:cNvSpPr/>
            <p:nvPr/>
          </p:nvSpPr>
          <p:spPr>
            <a:xfrm>
              <a:off x="10027920" y="2606040"/>
              <a:ext cx="1828800"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peedee"/>
                <a:ea typeface="+mn-ea"/>
                <a:cs typeface="+mn-cs"/>
              </a:endParaRPr>
            </a:p>
          </p:txBody>
        </p:sp>
        <p:sp>
          <p:nvSpPr>
            <p:cNvPr id="9" name="Rectangle 8">
              <a:extLst>
                <a:ext uri="{FF2B5EF4-FFF2-40B4-BE49-F238E27FC236}">
                  <a16:creationId xmlns:a16="http://schemas.microsoft.com/office/drawing/2014/main" id="{412DA3C7-0514-4C41-B1CC-10A18B6A7810}"/>
                </a:ext>
              </a:extLst>
            </p:cNvPr>
            <p:cNvSpPr/>
            <p:nvPr/>
          </p:nvSpPr>
          <p:spPr>
            <a:xfrm>
              <a:off x="11673840" y="2606040"/>
              <a:ext cx="182880"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peedee"/>
                <a:ea typeface="+mn-ea"/>
                <a:cs typeface="+mn-cs"/>
              </a:endParaRPr>
            </a:p>
          </p:txBody>
        </p:sp>
      </p:grpSp>
      <p:sp>
        <p:nvSpPr>
          <p:cNvPr id="5" name="Title">
            <a:extLst>
              <a:ext uri="{FF2B5EF4-FFF2-40B4-BE49-F238E27FC236}">
                <a16:creationId xmlns:a16="http://schemas.microsoft.com/office/drawing/2014/main" id="{6B5B6BBA-FD45-41F6-9564-1F7EBBB74A64}"/>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6829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Halfsi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87515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sp>
        <p:nvSpPr>
          <p:cNvPr id="7" name="Graphic 3">
            <a:extLst>
              <a:ext uri="{FF2B5EF4-FFF2-40B4-BE49-F238E27FC236}">
                <a16:creationId xmlns:a16="http://schemas.microsoft.com/office/drawing/2014/main" id="{0A1FDE5F-F5CC-4845-944B-48A25DC07EF0}"/>
              </a:ext>
            </a:extLst>
          </p:cNvPr>
          <p:cNvSpPr>
            <a:spLocks/>
          </p:cNvSpPr>
          <p:nvPr/>
        </p:nvSpPr>
        <p:spPr>
          <a:xfrm>
            <a:off x="0" y="5212080"/>
            <a:ext cx="12188952" cy="164592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pic>
        <p:nvPicPr>
          <p:cNvPr id="3" name="Graphic 2">
            <a:extLst>
              <a:ext uri="{FF2B5EF4-FFF2-40B4-BE49-F238E27FC236}">
                <a16:creationId xmlns:a16="http://schemas.microsoft.com/office/drawing/2014/main" id="{B5599F8E-9667-459C-A7EF-093C0C24B00C}"/>
              </a:ext>
            </a:extLst>
          </p:cNvPr>
          <p:cNvPicPr>
            <a:picLocks noChangeAspect="1"/>
          </p:cNvPicPr>
          <p:nvPr/>
        </p:nvPicPr>
        <p:blipFill>
          <a:blip r:embed="rId3"/>
          <a:stretch>
            <a:fillRect/>
          </a:stretch>
        </p:blipFill>
        <p:spPr>
          <a:xfrm>
            <a:off x="7180698" y="0"/>
            <a:ext cx="3921752" cy="6527737"/>
          </a:xfrm>
          <a:prstGeom prst="rect">
            <a:avLst/>
          </a:prstGeom>
        </p:spPr>
      </p:pic>
    </p:spTree>
    <p:custDataLst>
      <p:tags r:id="rId1"/>
    </p:custDataLst>
    <p:extLst>
      <p:ext uri="{BB962C8B-B14F-4D97-AF65-F5344CB8AC3E}">
        <p14:creationId xmlns:p14="http://schemas.microsoft.com/office/powerpoint/2010/main" val="15766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los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FAF2E-865B-8144-BE35-713D54848982}"/>
              </a:ext>
            </a:extLst>
          </p:cNvPr>
          <p:cNvSpPr>
            <a:spLocks noGrp="1"/>
          </p:cNvSpPr>
          <p:nvPr>
            <p:ph type="title"/>
          </p:nvPr>
        </p:nvSpPr>
        <p:spPr>
          <a:xfrm>
            <a:off x="334963" y="4572000"/>
            <a:ext cx="11522076" cy="1097280"/>
          </a:xfrm>
          <a:prstGeom prst="rect">
            <a:avLst/>
          </a:prstGeom>
        </p:spPr>
        <p:txBody>
          <a:bodyPr/>
          <a:lstStyle>
            <a:lvl1pPr algn="ctr">
              <a:defRPr sz="4000" b="1">
                <a:solidFill>
                  <a:schemeClr val="accent1"/>
                </a:solidFill>
                <a:latin typeface="Speedee" panose="020B0603030502020204" pitchFamily="34" charset="0"/>
              </a:defRPr>
            </a:lvl1pPr>
          </a:lstStyle>
          <a:p>
            <a:r>
              <a:rPr lang="en-US"/>
              <a:t>Click to edit Master title style</a:t>
            </a:r>
            <a:endParaRPr lang="en-US" dirty="0"/>
          </a:p>
        </p:txBody>
      </p:sp>
      <p:sp>
        <p:nvSpPr>
          <p:cNvPr id="9" name="Rectangle 8">
            <a:extLst>
              <a:ext uri="{FF2B5EF4-FFF2-40B4-BE49-F238E27FC236}">
                <a16:creationId xmlns:a16="http://schemas.microsoft.com/office/drawing/2014/main" id="{B11785AA-E155-4C3C-91CA-8A2106DE8A99}"/>
              </a:ext>
            </a:extLst>
          </p:cNvPr>
          <p:cNvSpPr/>
          <p:nvPr/>
        </p:nvSpPr>
        <p:spPr>
          <a:xfrm>
            <a:off x="4595760" y="1536391"/>
            <a:ext cx="3000480" cy="2458224"/>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peedee"/>
              <a:ea typeface="+mn-ea"/>
              <a:cs typeface="+mn-cs"/>
            </a:endParaRPr>
          </a:p>
        </p:txBody>
      </p:sp>
      <p:sp>
        <p:nvSpPr>
          <p:cNvPr id="12" name="Freeform: Shape 11">
            <a:extLst>
              <a:ext uri="{FF2B5EF4-FFF2-40B4-BE49-F238E27FC236}">
                <a16:creationId xmlns:a16="http://schemas.microsoft.com/office/drawing/2014/main" id="{7B96EA0D-E6D6-4B4A-A2C2-9E820A52F511}"/>
              </a:ext>
            </a:extLst>
          </p:cNvPr>
          <p:cNvSpPr>
            <a:spLocks noChangeAspect="1"/>
          </p:cNvSpPr>
          <p:nvPr/>
        </p:nvSpPr>
        <p:spPr>
          <a:xfrm>
            <a:off x="5233861" y="2011123"/>
            <a:ext cx="1724278" cy="1508760"/>
          </a:xfrm>
          <a:custGeom>
            <a:avLst/>
            <a:gdLst>
              <a:gd name="connsiteX0" fmla="*/ 6578874 w 9147911"/>
              <a:gd name="connsiteY0" fmla="*/ 571751 h 8004510"/>
              <a:gd name="connsiteX1" fmla="*/ 8008235 w 9147911"/>
              <a:gd name="connsiteY1" fmla="*/ 8008322 h 8004510"/>
              <a:gd name="connsiteX2" fmla="*/ 9151723 w 9147911"/>
              <a:gd name="connsiteY2" fmla="*/ 8008322 h 8004510"/>
              <a:gd name="connsiteX3" fmla="*/ 6578874 w 9147911"/>
              <a:gd name="connsiteY3" fmla="*/ 0 h 8004510"/>
              <a:gd name="connsiteX4" fmla="*/ 4577768 w 9147911"/>
              <a:gd name="connsiteY4" fmla="*/ 2763462 h 8004510"/>
              <a:gd name="connsiteX5" fmla="*/ 2572850 w 9147911"/>
              <a:gd name="connsiteY5" fmla="*/ 0 h 8004510"/>
              <a:gd name="connsiteX6" fmla="*/ 0 w 9147911"/>
              <a:gd name="connsiteY6" fmla="*/ 8008322 h 8004510"/>
              <a:gd name="connsiteX7" fmla="*/ 1143489 w 9147911"/>
              <a:gd name="connsiteY7" fmla="*/ 8008322 h 8004510"/>
              <a:gd name="connsiteX8" fmla="*/ 2572850 w 9147911"/>
              <a:gd name="connsiteY8" fmla="*/ 571751 h 8004510"/>
              <a:gd name="connsiteX9" fmla="*/ 4002211 w 9147911"/>
              <a:gd name="connsiteY9" fmla="*/ 7436571 h 8004510"/>
              <a:gd name="connsiteX10" fmla="*/ 5145700 w 9147911"/>
              <a:gd name="connsiteY10" fmla="*/ 7436571 h 8004510"/>
              <a:gd name="connsiteX11" fmla="*/ 6578874 w 9147911"/>
              <a:gd name="connsiteY11" fmla="*/ 571751 h 800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7911" h="8004510">
                <a:moveTo>
                  <a:pt x="6578874" y="571751"/>
                </a:moveTo>
                <a:cubicBezTo>
                  <a:pt x="7367881" y="571751"/>
                  <a:pt x="8008235" y="3903152"/>
                  <a:pt x="8008235" y="8008322"/>
                </a:cubicBezTo>
                <a:lnTo>
                  <a:pt x="9151723" y="8008322"/>
                </a:lnTo>
                <a:cubicBezTo>
                  <a:pt x="9155535" y="3586783"/>
                  <a:pt x="8000611" y="0"/>
                  <a:pt x="6578874" y="0"/>
                </a:cubicBezTo>
                <a:cubicBezTo>
                  <a:pt x="5770808" y="0"/>
                  <a:pt x="5046598" y="1078703"/>
                  <a:pt x="4577768" y="2763462"/>
                </a:cubicBezTo>
                <a:cubicBezTo>
                  <a:pt x="4105125" y="1078703"/>
                  <a:pt x="3384727" y="0"/>
                  <a:pt x="2572850" y="0"/>
                </a:cubicBezTo>
                <a:cubicBezTo>
                  <a:pt x="1151112" y="0"/>
                  <a:pt x="0" y="3586783"/>
                  <a:pt x="0" y="8008322"/>
                </a:cubicBezTo>
                <a:lnTo>
                  <a:pt x="1143489" y="8008322"/>
                </a:lnTo>
                <a:cubicBezTo>
                  <a:pt x="1143489" y="3903152"/>
                  <a:pt x="1783843" y="571751"/>
                  <a:pt x="2572850" y="571751"/>
                </a:cubicBezTo>
                <a:cubicBezTo>
                  <a:pt x="3361857" y="571751"/>
                  <a:pt x="4002211" y="3643958"/>
                  <a:pt x="4002211" y="7436571"/>
                </a:cubicBezTo>
                <a:lnTo>
                  <a:pt x="5145700" y="7436571"/>
                </a:lnTo>
                <a:cubicBezTo>
                  <a:pt x="5149512" y="3647770"/>
                  <a:pt x="5789866" y="571751"/>
                  <a:pt x="6578874" y="571751"/>
                </a:cubicBezTo>
              </a:path>
            </a:pathLst>
          </a:custGeom>
          <a:solidFill>
            <a:schemeClr val="accent1"/>
          </a:solidFill>
          <a:ln w="243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1240144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255520" y="2514600"/>
            <a:ext cx="7680960" cy="1828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73057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One Line Title Slide w/ Log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3947" y="3722289"/>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pic>
        <p:nvPicPr>
          <p:cNvPr id="28" name="Picture 27">
            <a:extLst>
              <a:ext uri="{FF2B5EF4-FFF2-40B4-BE49-F238E27FC236}">
                <a16:creationId xmlns:a16="http://schemas.microsoft.com/office/drawing/2014/main" id="{D3F72533-155C-ED47-A31B-01FFA5B7A63F}"/>
              </a:ext>
            </a:extLst>
          </p:cNvPr>
          <p:cNvPicPr>
            <a:picLocks noChangeAspect="1"/>
          </p:cNvPicPr>
          <p:nvPr/>
        </p:nvPicPr>
        <p:blipFill rotWithShape="1">
          <a:blip r:embed="rId3"/>
          <a:srcRect l="34731" r="-1"/>
          <a:stretch/>
        </p:blipFill>
        <p:spPr>
          <a:xfrm>
            <a:off x="0" y="0"/>
            <a:ext cx="5085448" cy="6858000"/>
          </a:xfrm>
          <a:prstGeom prst="rect">
            <a:avLst/>
          </a:prstGeom>
        </p:spPr>
      </p:pic>
      <p:grpSp>
        <p:nvGrpSpPr>
          <p:cNvPr id="9" name="Group 8">
            <a:extLst>
              <a:ext uri="{FF2B5EF4-FFF2-40B4-BE49-F238E27FC236}">
                <a16:creationId xmlns:a16="http://schemas.microsoft.com/office/drawing/2014/main" id="{7D27C231-BF81-0143-B523-B94639D66C3B}"/>
              </a:ext>
            </a:extLst>
          </p:cNvPr>
          <p:cNvGrpSpPr/>
          <p:nvPr/>
        </p:nvGrpSpPr>
        <p:grpSpPr>
          <a:xfrm>
            <a:off x="9648837" y="2597502"/>
            <a:ext cx="1887843" cy="945130"/>
            <a:chOff x="4202641" y="1997103"/>
            <a:chExt cx="1887843" cy="945130"/>
          </a:xfrm>
        </p:grpSpPr>
        <p:cxnSp>
          <p:nvCxnSpPr>
            <p:cNvPr id="10" name="Straight Connector 9">
              <a:extLst>
                <a:ext uri="{FF2B5EF4-FFF2-40B4-BE49-F238E27FC236}">
                  <a16:creationId xmlns:a16="http://schemas.microsoft.com/office/drawing/2014/main" id="{B616C1E7-B94E-D64B-B001-0EE15BE6C052}"/>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8E8C3E-5B41-0441-AF7A-51F1B9F7FF96}"/>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descr="GT_Logo.em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2020" y="303069"/>
            <a:ext cx="2448056" cy="711891"/>
          </a:xfrm>
          <a:prstGeom prst="rect">
            <a:avLst/>
          </a:prstGeom>
        </p:spPr>
      </p:pic>
      <p:sp>
        <p:nvSpPr>
          <p:cNvPr id="8"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057557"/>
            <a:ext cx="5153032" cy="598890"/>
          </a:xfrm>
        </p:spPr>
        <p:txBody>
          <a:bodyPr lIns="182880" tIns="0" rIns="228600" anchor="b"/>
          <a:lstStyle>
            <a:lvl1pPr marL="0" indent="0" algn="r">
              <a:tabLst/>
              <a:defRPr sz="4400">
                <a:solidFill>
                  <a:schemeClr val="tx1"/>
                </a:solidFill>
              </a:defRPr>
            </a:lvl1pPr>
          </a:lstStyle>
          <a:p>
            <a:br>
              <a:rPr lang="en-US" dirty="0"/>
            </a:br>
            <a:r>
              <a:rPr lang="en-US" dirty="0"/>
              <a:t>Title goes here</a:t>
            </a:r>
          </a:p>
        </p:txBody>
      </p:sp>
    </p:spTree>
    <p:custDataLst>
      <p:tags r:id="rId1"/>
    </p:custDataLst>
    <p:extLst>
      <p:ext uri="{BB962C8B-B14F-4D97-AF65-F5344CB8AC3E}">
        <p14:creationId xmlns:p14="http://schemas.microsoft.com/office/powerpoint/2010/main" val="246036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wo Line Title Slide w/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657600"/>
            <a:ext cx="5153032" cy="598890"/>
          </a:xfrm>
        </p:spPr>
        <p:txBody>
          <a:bodyPr lIns="182880" tIns="0" rIns="228600" anchor="b"/>
          <a:lstStyle>
            <a:lvl1pPr marL="0" indent="0" algn="r">
              <a:tabLst/>
              <a:defRPr sz="4400">
                <a:solidFill>
                  <a:schemeClr val="tx1"/>
                </a:solidFill>
              </a:defRPr>
            </a:lvl1pPr>
          </a:lstStyle>
          <a:p>
            <a:br>
              <a:rPr lang="en-US" dirty="0"/>
            </a:br>
            <a:r>
              <a:rPr lang="en-US" dirty="0"/>
              <a:t>A two line title</a:t>
            </a:r>
            <a:br>
              <a:rPr lang="en-US" dirty="0"/>
            </a:br>
            <a:r>
              <a:rPr lang="en-US" dirty="0"/>
              <a:t>goes her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2821" y="4293871"/>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1" name="Group 10">
            <a:extLst>
              <a:ext uri="{FF2B5EF4-FFF2-40B4-BE49-F238E27FC236}">
                <a16:creationId xmlns:a16="http://schemas.microsoft.com/office/drawing/2014/main" id="{C39CEB44-9E89-DC41-BCB7-E03D5FB4DA61}"/>
              </a:ext>
            </a:extLst>
          </p:cNvPr>
          <p:cNvGrpSpPr/>
          <p:nvPr/>
        </p:nvGrpSpPr>
        <p:grpSpPr>
          <a:xfrm>
            <a:off x="9648837" y="2597502"/>
            <a:ext cx="1887843" cy="945130"/>
            <a:chOff x="4202641" y="1997103"/>
            <a:chExt cx="1887843" cy="945130"/>
          </a:xfrm>
        </p:grpSpPr>
        <p:cxnSp>
          <p:nvCxnSpPr>
            <p:cNvPr id="12" name="Straight Connector 11">
              <a:extLst>
                <a:ext uri="{FF2B5EF4-FFF2-40B4-BE49-F238E27FC236}">
                  <a16:creationId xmlns:a16="http://schemas.microsoft.com/office/drawing/2014/main" id="{3E7667E4-8081-BA40-BD0C-76A8F4228560}"/>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8A31E2-D290-1B42-9DA1-78E163F63DF0}"/>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B0C82FFF-B591-D246-B684-92C3733D9CC4}"/>
              </a:ext>
            </a:extLst>
          </p:cNvPr>
          <p:cNvPicPr>
            <a:picLocks noChangeAspect="1"/>
          </p:cNvPicPr>
          <p:nvPr/>
        </p:nvPicPr>
        <p:blipFill rotWithShape="1">
          <a:blip r:embed="rId3"/>
          <a:srcRect l="37938" t="658" r="1315" b="658"/>
          <a:stretch/>
        </p:blipFill>
        <p:spPr>
          <a:xfrm>
            <a:off x="0" y="0"/>
            <a:ext cx="4221480" cy="6858000"/>
          </a:xfrm>
          <a:prstGeom prst="rect">
            <a:avLst/>
          </a:prstGeom>
        </p:spPr>
      </p:pic>
      <p:pic>
        <p:nvPicPr>
          <p:cNvPr id="9" name="Picture 8" descr="GT_Logo.em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2020" y="303069"/>
            <a:ext cx="2448056" cy="711891"/>
          </a:xfrm>
          <a:prstGeom prst="rect">
            <a:avLst/>
          </a:prstGeom>
        </p:spPr>
      </p:pic>
    </p:spTree>
    <p:custDataLst>
      <p:tags r:id="rId1"/>
    </p:custDataLst>
    <p:extLst>
      <p:ext uri="{BB962C8B-B14F-4D97-AF65-F5344CB8AC3E}">
        <p14:creationId xmlns:p14="http://schemas.microsoft.com/office/powerpoint/2010/main" val="249362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12396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1341755" y="2743200"/>
            <a:ext cx="5622925" cy="1417320"/>
          </a:xfrm>
        </p:spPr>
        <p:txBody>
          <a:bodyPr anchor="ctr" anchorCtr="0"/>
          <a:lstStyle>
            <a:lvl1pPr algn="l">
              <a:lnSpc>
                <a:spcPct val="90000"/>
              </a:lnSpc>
              <a:defRPr sz="4400">
                <a:solidFill>
                  <a:schemeClr val="tx1"/>
                </a:solidFill>
              </a:defRPr>
            </a:lvl1pPr>
          </a:lstStyle>
          <a:p>
            <a:r>
              <a:rPr lang="en-US" dirty="0"/>
              <a:t>Click to edit Master Title style</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a:srcRect l="18750" t="16711" b="12500"/>
          <a:stretch/>
        </p:blipFill>
        <p:spPr>
          <a:xfrm>
            <a:off x="-30480" y="0"/>
            <a:ext cx="1188720" cy="6858000"/>
          </a:xfrm>
          <a:prstGeom prst="rect">
            <a:avLst/>
          </a:prstGeom>
        </p:spPr>
      </p:pic>
    </p:spTree>
    <p:custDataLst>
      <p:tags r:id="rId1"/>
    </p:custDataLst>
    <p:extLst>
      <p:ext uri="{BB962C8B-B14F-4D97-AF65-F5344CB8AC3E}">
        <p14:creationId xmlns:p14="http://schemas.microsoft.com/office/powerpoint/2010/main" val="250720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DD0D00B-05F5-4C2B-9321-091C04C267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8133668" y="5757048"/>
            <a:ext cx="3090672" cy="274320"/>
          </a:xfrm>
          <a:prstGeom prst="rect">
            <a:avLst/>
          </a:prstGeom>
        </p:spPr>
      </p:pic>
      <p:sp>
        <p:nvSpPr>
          <p:cNvPr id="5" name="Rectangle 4">
            <a:extLst>
              <a:ext uri="{FF2B5EF4-FFF2-40B4-BE49-F238E27FC236}">
                <a16:creationId xmlns:a16="http://schemas.microsoft.com/office/drawing/2014/main" id="{C4C58F74-946F-46D3-A965-FD956A9F1015}"/>
              </a:ext>
            </a:extLst>
          </p:cNvPr>
          <p:cNvSpPr/>
          <p:nvPr/>
        </p:nvSpPr>
        <p:spPr>
          <a:xfrm>
            <a:off x="0" y="0"/>
            <a:ext cx="12192000" cy="5760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peedee"/>
              <a:ea typeface="+mn-ea"/>
              <a:cs typeface="+mn-cs"/>
            </a:endParaRP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334963" y="228600"/>
            <a:ext cx="11522076" cy="5486400"/>
          </a:xfrm>
        </p:spPr>
        <p:txBody>
          <a:bodyPr anchor="ctr" anchorCtr="0"/>
          <a:lstStyle>
            <a:lvl1pPr algn="ctr">
              <a:defRPr sz="4800">
                <a:solidFill>
                  <a:schemeClr val="bg1"/>
                </a:solidFill>
              </a:defRPr>
            </a:lvl1pPr>
          </a:lstStyle>
          <a:p>
            <a:r>
              <a:rPr lang="en-US"/>
              <a:t>Click to edit Master title style</a:t>
            </a:r>
            <a:endParaRPr lang="en-US" dirty="0"/>
          </a:p>
        </p:txBody>
      </p:sp>
      <p:sp>
        <p:nvSpPr>
          <p:cNvPr id="8" name="Slide Number Placeholder 4">
            <a:extLst>
              <a:ext uri="{FF2B5EF4-FFF2-40B4-BE49-F238E27FC236}">
                <a16:creationId xmlns:a16="http://schemas.microsoft.com/office/drawing/2014/main" id="{91B20ABE-8968-4BCD-BA52-34D8C9D91346}"/>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A3EAE05-B1AD-4EBB-B8EA-B0288B3917D2}"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928380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Yellow Divider">
    <p:bg>
      <p:bgPr>
        <a:solidFill>
          <a:schemeClr val="bg1"/>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DC6089AD-576A-6647-8C8E-DCC31DE52D2C}"/>
              </a:ext>
            </a:extLst>
          </p:cNvPr>
          <p:cNvPicPr>
            <a:picLocks noChangeAspect="1"/>
          </p:cNvPicPr>
          <p:nvPr/>
        </p:nvPicPr>
        <p:blipFill>
          <a:blip r:embed="rId3"/>
          <a:stretch>
            <a:fillRect/>
          </a:stretch>
        </p:blipFill>
        <p:spPr>
          <a:xfrm>
            <a:off x="469993" y="457201"/>
            <a:ext cx="11240741" cy="5952106"/>
          </a:xfrm>
          <a:prstGeom prst="rect">
            <a:avLst/>
          </a:prstGeom>
        </p:spPr>
      </p:pic>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9" name="Title 1">
            <a:extLst>
              <a:ext uri="{FF2B5EF4-FFF2-40B4-BE49-F238E27FC236}">
                <a16:creationId xmlns:a16="http://schemas.microsoft.com/office/drawing/2014/main" id="{61B05854-1F0B-D045-B7C0-F5BDDC1B72B8}"/>
              </a:ext>
            </a:extLst>
          </p:cNvPr>
          <p:cNvSpPr>
            <a:spLocks noGrp="1"/>
          </p:cNvSpPr>
          <p:nvPr>
            <p:ph type="ctrTitle"/>
          </p:nvPr>
        </p:nvSpPr>
        <p:spPr>
          <a:xfrm>
            <a:off x="883920" y="3085362"/>
            <a:ext cx="8778240" cy="685800"/>
          </a:xfrm>
          <a:noFill/>
        </p:spPr>
        <p:txBody>
          <a:bodyPr lIns="137160" rIns="137160" anchor="ctr" anchorCtr="0"/>
          <a:lstStyle>
            <a:lvl1pPr algn="l">
              <a:lnSpc>
                <a:spcPct val="90000"/>
              </a:lnSpc>
              <a:defRPr sz="44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74336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7">
          <p15:clr>
            <a:srgbClr val="FBAE40"/>
          </p15:clr>
        </p15:guide>
        <p15:guide id="2" pos="721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accent5"/>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Slide Number Placeholder 3">
            <a:extLst>
              <a:ext uri="{FF2B5EF4-FFF2-40B4-BE49-F238E27FC236}">
                <a16:creationId xmlns:a16="http://schemas.microsoft.com/office/drawing/2014/main" id="{70A15F3D-AC04-B64A-B33D-4946D9634B32}"/>
              </a:ext>
            </a:extLst>
          </p:cNvPr>
          <p:cNvSpPr>
            <a:spLocks noGrp="1"/>
          </p:cNvSpPr>
          <p:nvPr>
            <p:ph type="sldNum" sz="quarter" idx="11"/>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157933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083A050F-49AA-7D4B-83EE-C84CE0A1135B}"/>
              </a:ext>
            </a:extLst>
          </p:cNvPr>
          <p:cNvSpPr>
            <a:spLocks noGrp="1"/>
          </p:cNvSpPr>
          <p:nvPr>
            <p:ph type="sldNum" sz="quarter" idx="11"/>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a:t>Click icon to add picture</a:t>
            </a:r>
            <a:endParaRPr lang="en-US" dirty="0"/>
          </a:p>
        </p:txBody>
      </p:sp>
    </p:spTree>
    <p:custDataLst>
      <p:tags r:id="rId1"/>
    </p:custDataLst>
    <p:extLst>
      <p:ext uri="{BB962C8B-B14F-4D97-AF65-F5344CB8AC3E}">
        <p14:creationId xmlns:p14="http://schemas.microsoft.com/office/powerpoint/2010/main" val="373738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defRPr sz="2000"/>
            </a:lvl1pPr>
            <a:lvl2pPr algn="l">
              <a:buClr>
                <a:schemeClr val="tx1"/>
              </a:buClr>
              <a:defRPr sz="1800"/>
            </a:lvl2pPr>
            <a:lvl3pPr algn="l">
              <a:buClr>
                <a:schemeClr val="tx1"/>
              </a:buClr>
              <a:defRPr sz="1800"/>
            </a:lvl3pPr>
            <a:lvl4pPr algn="l">
              <a:buClr>
                <a:schemeClr val="tx1"/>
              </a:buClr>
              <a:defRPr sz="1800"/>
            </a:lvl4pPr>
            <a:lvl5pPr algn="l">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B615C9EC-86CF-FA4A-926E-E7D47D3BA853}"/>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8A94D66E-8A3B-104D-AE0D-B923638D6607}"/>
              </a:ext>
            </a:extLst>
          </p:cNvPr>
          <p:cNvPicPr>
            <a:picLocks noChangeAspect="1"/>
          </p:cNvPicPr>
          <p:nvPr/>
        </p:nvPicPr>
        <p:blipFill rotWithShape="1">
          <a:blip r:embed="rId3"/>
          <a:srcRect l="18750" t="16711" b="12500"/>
          <a:stretch/>
        </p:blipFill>
        <p:spPr>
          <a:xfrm>
            <a:off x="10922000" y="0"/>
            <a:ext cx="1188720" cy="6858000"/>
          </a:xfrm>
          <a:prstGeom prst="rect">
            <a:avLst/>
          </a:prstGeom>
        </p:spPr>
      </p:pic>
    </p:spTree>
    <p:custDataLst>
      <p:tags r:id="rId1"/>
    </p:custDataLst>
    <p:extLst>
      <p:ext uri="{BB962C8B-B14F-4D97-AF65-F5344CB8AC3E}">
        <p14:creationId xmlns:p14="http://schemas.microsoft.com/office/powerpoint/2010/main" val="34701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1293432"/>
            <a:ext cx="11245851" cy="1417320"/>
          </a:xfrm>
          <a:prstGeom prst="rect">
            <a:avLst/>
          </a:prstGeom>
        </p:spPr>
        <p:txBody>
          <a:bodyPr tIns="0" bIns="0"/>
          <a:lstStyle>
            <a:lvl1pPr marL="0" indent="0" algn="ctr">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74116276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255520" y="2514600"/>
            <a:ext cx="7680960" cy="1828800"/>
          </a:xfrm>
        </p:spPr>
        <p:txBody>
          <a:bodyPr lIns="91440" rIns="91440" anchor="ctr" anchorCtr="0">
            <a:noAutofit/>
          </a:bodyPr>
          <a:lstStyle>
            <a:lvl1pPr algn="ctr">
              <a:defRPr sz="4000">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94080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152958862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94013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racket Only">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2" name="Group 1">
            <a:extLst>
              <a:ext uri="{FF2B5EF4-FFF2-40B4-BE49-F238E27FC236}">
                <a16:creationId xmlns:a16="http://schemas.microsoft.com/office/drawing/2014/main" id="{5A95E225-00A7-D24B-9956-20D6DF1B603D}"/>
              </a:ext>
            </a:extLst>
          </p:cNvPr>
          <p:cNvGrpSpPr/>
          <p:nvPr/>
        </p:nvGrpSpPr>
        <p:grpSpPr>
          <a:xfrm>
            <a:off x="9748689" y="468283"/>
            <a:ext cx="1968750" cy="960120"/>
            <a:chOff x="9748689" y="468283"/>
            <a:chExt cx="1968750" cy="960120"/>
          </a:xfrm>
        </p:grpSpPr>
        <p:cxnSp>
          <p:nvCxnSpPr>
            <p:cNvPr id="3" name="Straight Connector 2">
              <a:extLst>
                <a:ext uri="{FF2B5EF4-FFF2-40B4-BE49-F238E27FC236}">
                  <a16:creationId xmlns:a16="http://schemas.microsoft.com/office/drawing/2014/main" id="{BA049C9F-A642-5A44-B0E2-036C05BCB272}"/>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173C8AF-5B46-CB4C-9067-D09F1C8E9E92}"/>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62276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Half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59C9FB6-4D52-4E0A-B2EE-0F609174056D}"/>
              </a:ext>
            </a:extLst>
          </p:cNvPr>
          <p:cNvSpPr>
            <a:spLocks noGrp="1"/>
          </p:cNvSpPr>
          <p:nvPr>
            <p:ph type="pic" sz="quarter" idx="10"/>
          </p:nvPr>
        </p:nvSpPr>
        <p:spPr>
          <a:xfrm>
            <a:off x="473074" y="457200"/>
            <a:ext cx="11250787" cy="2971800"/>
          </a:xfrm>
          <a:custGeom>
            <a:avLst/>
            <a:gdLst>
              <a:gd name="connsiteX0" fmla="*/ 0 w 11245851"/>
              <a:gd name="connsiteY0" fmla="*/ 278339 h 2971800"/>
              <a:gd name="connsiteX1" fmla="*/ 278339 w 11245851"/>
              <a:gd name="connsiteY1" fmla="*/ 0 h 2971800"/>
              <a:gd name="connsiteX2" fmla="*/ 10967512 w 11245851"/>
              <a:gd name="connsiteY2" fmla="*/ 0 h 2971800"/>
              <a:gd name="connsiteX3" fmla="*/ 11245851 w 11245851"/>
              <a:gd name="connsiteY3" fmla="*/ 278339 h 2971800"/>
              <a:gd name="connsiteX4" fmla="*/ 11245851 w 11245851"/>
              <a:gd name="connsiteY4" fmla="*/ 2693461 h 2971800"/>
              <a:gd name="connsiteX5" fmla="*/ 10967512 w 11245851"/>
              <a:gd name="connsiteY5" fmla="*/ 2971800 h 2971800"/>
              <a:gd name="connsiteX6" fmla="*/ 278339 w 11245851"/>
              <a:gd name="connsiteY6" fmla="*/ 2971800 h 2971800"/>
              <a:gd name="connsiteX7" fmla="*/ 0 w 11245851"/>
              <a:gd name="connsiteY7" fmla="*/ 2693461 h 2971800"/>
              <a:gd name="connsiteX8" fmla="*/ 0 w 11245851"/>
              <a:gd name="connsiteY8" fmla="*/ 278339 h 2971800"/>
              <a:gd name="connsiteX0" fmla="*/ 0 w 11858938"/>
              <a:gd name="connsiteY0" fmla="*/ 278339 h 2971800"/>
              <a:gd name="connsiteX1" fmla="*/ 278339 w 11858938"/>
              <a:gd name="connsiteY1" fmla="*/ 0 h 2971800"/>
              <a:gd name="connsiteX2" fmla="*/ 10967512 w 11858938"/>
              <a:gd name="connsiteY2" fmla="*/ 0 h 2971800"/>
              <a:gd name="connsiteX3" fmla="*/ 11245851 w 11858938"/>
              <a:gd name="connsiteY3" fmla="*/ 2693461 h 2971800"/>
              <a:gd name="connsiteX4" fmla="*/ 10967512 w 11858938"/>
              <a:gd name="connsiteY4" fmla="*/ 2971800 h 2971800"/>
              <a:gd name="connsiteX5" fmla="*/ 278339 w 11858938"/>
              <a:gd name="connsiteY5" fmla="*/ 2971800 h 2971800"/>
              <a:gd name="connsiteX6" fmla="*/ 0 w 11858938"/>
              <a:gd name="connsiteY6" fmla="*/ 2693461 h 2971800"/>
              <a:gd name="connsiteX7" fmla="*/ 0 w 11858938"/>
              <a:gd name="connsiteY7" fmla="*/ 278339 h 2971800"/>
              <a:gd name="connsiteX0" fmla="*/ 0 w 12061877"/>
              <a:gd name="connsiteY0" fmla="*/ 278339 h 2971800"/>
              <a:gd name="connsiteX1" fmla="*/ 278339 w 12061877"/>
              <a:gd name="connsiteY1" fmla="*/ 0 h 2971800"/>
              <a:gd name="connsiteX2" fmla="*/ 11250733 w 12061877"/>
              <a:gd name="connsiteY2" fmla="*/ 0 h 2971800"/>
              <a:gd name="connsiteX3" fmla="*/ 11245851 w 12061877"/>
              <a:gd name="connsiteY3" fmla="*/ 2693461 h 2971800"/>
              <a:gd name="connsiteX4" fmla="*/ 10967512 w 12061877"/>
              <a:gd name="connsiteY4" fmla="*/ 2971800 h 2971800"/>
              <a:gd name="connsiteX5" fmla="*/ 278339 w 12061877"/>
              <a:gd name="connsiteY5" fmla="*/ 2971800 h 2971800"/>
              <a:gd name="connsiteX6" fmla="*/ 0 w 12061877"/>
              <a:gd name="connsiteY6" fmla="*/ 2693461 h 2971800"/>
              <a:gd name="connsiteX7" fmla="*/ 0 w 12061877"/>
              <a:gd name="connsiteY7" fmla="*/ 278339 h 2971800"/>
              <a:gd name="connsiteX0" fmla="*/ 0 w 11327392"/>
              <a:gd name="connsiteY0" fmla="*/ 278339 h 2971800"/>
              <a:gd name="connsiteX1" fmla="*/ 278339 w 11327392"/>
              <a:gd name="connsiteY1" fmla="*/ 0 h 2971800"/>
              <a:gd name="connsiteX2" fmla="*/ 11250733 w 11327392"/>
              <a:gd name="connsiteY2" fmla="*/ 0 h 2971800"/>
              <a:gd name="connsiteX3" fmla="*/ 11245851 w 11327392"/>
              <a:gd name="connsiteY3" fmla="*/ 2693461 h 2971800"/>
              <a:gd name="connsiteX4" fmla="*/ 10967512 w 11327392"/>
              <a:gd name="connsiteY4" fmla="*/ 2971800 h 2971800"/>
              <a:gd name="connsiteX5" fmla="*/ 278339 w 11327392"/>
              <a:gd name="connsiteY5" fmla="*/ 2971800 h 2971800"/>
              <a:gd name="connsiteX6" fmla="*/ 0 w 11327392"/>
              <a:gd name="connsiteY6" fmla="*/ 2693461 h 2971800"/>
              <a:gd name="connsiteX7" fmla="*/ 0 w 11327392"/>
              <a:gd name="connsiteY7" fmla="*/ 278339 h 2971800"/>
              <a:gd name="connsiteX0" fmla="*/ 0 w 11250733"/>
              <a:gd name="connsiteY0" fmla="*/ 278339 h 2971800"/>
              <a:gd name="connsiteX1" fmla="*/ 278339 w 11250733"/>
              <a:gd name="connsiteY1" fmla="*/ 0 h 2971800"/>
              <a:gd name="connsiteX2" fmla="*/ 11250733 w 11250733"/>
              <a:gd name="connsiteY2" fmla="*/ 0 h 2971800"/>
              <a:gd name="connsiteX3" fmla="*/ 11245851 w 11250733"/>
              <a:gd name="connsiteY3" fmla="*/ 2693461 h 2971800"/>
              <a:gd name="connsiteX4" fmla="*/ 10967512 w 11250733"/>
              <a:gd name="connsiteY4" fmla="*/ 2971800 h 2971800"/>
              <a:gd name="connsiteX5" fmla="*/ 278339 w 11250733"/>
              <a:gd name="connsiteY5" fmla="*/ 2971800 h 2971800"/>
              <a:gd name="connsiteX6" fmla="*/ 0 w 11250733"/>
              <a:gd name="connsiteY6" fmla="*/ 2693461 h 2971800"/>
              <a:gd name="connsiteX7" fmla="*/ 0 w 11250733"/>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0787" h="2971800">
                <a:moveTo>
                  <a:pt x="0" y="278339"/>
                </a:moveTo>
                <a:cubicBezTo>
                  <a:pt x="0" y="124617"/>
                  <a:pt x="124617" y="0"/>
                  <a:pt x="278339" y="0"/>
                </a:cubicBezTo>
                <a:lnTo>
                  <a:pt x="11250733" y="0"/>
                </a:lnTo>
                <a:cubicBezTo>
                  <a:pt x="11251395" y="313608"/>
                  <a:pt x="11245851" y="2198161"/>
                  <a:pt x="11245851" y="2693461"/>
                </a:cubicBezTo>
                <a:cubicBezTo>
                  <a:pt x="11245851" y="2847183"/>
                  <a:pt x="11121234" y="2971800"/>
                  <a:pt x="10967512" y="2971800"/>
                </a:cubicBezTo>
                <a:lnTo>
                  <a:pt x="278339" y="2971800"/>
                </a:lnTo>
                <a:cubicBezTo>
                  <a:pt x="124617" y="2971800"/>
                  <a:pt x="0" y="2847183"/>
                  <a:pt x="0" y="2693461"/>
                </a:cubicBezTo>
                <a:lnTo>
                  <a:pt x="0" y="278339"/>
                </a:lnTo>
                <a:close/>
              </a:path>
            </a:pathLst>
          </a:custGeom>
          <a:solidFill>
            <a:schemeClr val="accent5"/>
          </a:solidFill>
          <a:ln w="38100">
            <a:noFill/>
            <a:miter lim="800000"/>
          </a:ln>
        </p:spPr>
        <p:txBody>
          <a:bodyPr vert="horz" lIns="137160" tIns="274320" rIns="137160" bIns="274320" rtlCol="0" anchor="t" anchorCtr="0">
            <a:noAutofit/>
          </a:bodyPr>
          <a:lstStyle>
            <a:lvl1pPr marL="0" indent="0" algn="ctr">
              <a:buFont typeface="Arial" panose="020B0604020202020204" pitchFamily="34" charset="0"/>
              <a:buNone/>
              <a:defRPr lang="en-US" sz="1800" dirty="0">
                <a:noFill/>
              </a:defRPr>
            </a:lvl1pPr>
          </a:lstStyle>
          <a:p>
            <a:pPr marL="287338" lvl="0" indent="-287338" algn="ctr"/>
            <a:r>
              <a:rPr lang="en-US"/>
              <a:t>Click icon to add picture</a:t>
            </a:r>
            <a:endParaRPr lang="en-US" dirty="0"/>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473075" y="3429000"/>
            <a:ext cx="11245849" cy="3200400"/>
          </a:xfrm>
        </p:spPr>
        <p:txBody>
          <a:bodyPr lIns="0" tIns="0" rIns="0" bIns="0" anchor="ctr" anchorCtr="0"/>
          <a:lstStyle>
            <a:lvl1pPr algn="ctr">
              <a:defRPr sz="4400">
                <a:solidFill>
                  <a:schemeClr val="tx1"/>
                </a:solidFill>
              </a:defRPr>
            </a:lvl1pPr>
          </a:lstStyle>
          <a:p>
            <a:r>
              <a:rPr lang="en-US"/>
              <a:t>Click to edit Master title style</a:t>
            </a:r>
            <a:endParaRPr lang="en-US" dirty="0"/>
          </a:p>
        </p:txBody>
      </p:sp>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54652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ic Square Right: Brow &amp; Text">
    <p:bg>
      <p:bgPr>
        <a:solidFill>
          <a:schemeClr val="bg1"/>
        </a:solid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8206E935-75A6-4050-BE93-44C6EB65AA42}"/>
              </a:ext>
            </a:extLst>
          </p:cNvPr>
          <p:cNvSpPr>
            <a:spLocks noGrp="1"/>
          </p:cNvSpPr>
          <p:nvPr>
            <p:ph sz="quarter" idx="11"/>
          </p:nvPr>
        </p:nvSpPr>
        <p:spPr>
          <a:xfrm>
            <a:off x="473075" y="1325880"/>
            <a:ext cx="5165725" cy="5074920"/>
          </a:xfrm>
          <a:prstGeom prst="rect">
            <a:avLst/>
          </a:prstGeom>
        </p:spPr>
        <p:txBody>
          <a:bodyPr anchor="ctr" anchorCtr="0"/>
          <a:lstStyle>
            <a:lvl1pPr marL="230188" indent="-230188">
              <a:buClr>
                <a:schemeClr val="tx1"/>
              </a:buClr>
              <a:buFontTx/>
              <a:buBlip>
                <a:blip r:embed="rId3"/>
              </a:buBlip>
              <a:defRPr sz="2000"/>
            </a:lvl1pPr>
            <a:lvl2pPr>
              <a:buClr>
                <a:schemeClr val="tx1"/>
              </a:buClr>
              <a:defRPr sz="1600"/>
            </a:lvl2pPr>
            <a:lvl3pPr>
              <a:buClr>
                <a:schemeClr val="tx1"/>
              </a:buClr>
              <a:defRPr sz="1600"/>
            </a:lvl3pPr>
            <a:lvl4pPr>
              <a:buClr>
                <a:schemeClr val="tx1"/>
              </a:buClr>
              <a:defRPr sz="1600"/>
            </a:lvl4pPr>
            <a:lvl5pPr>
              <a:buClr>
                <a:schemeClr val="tx1"/>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704CD852-C37E-B14B-860B-FE42C676A660}"/>
              </a:ext>
            </a:extLst>
          </p:cNvPr>
          <p:cNvSpPr>
            <a:spLocks noGrp="1"/>
          </p:cNvSpPr>
          <p:nvPr>
            <p:ph type="title"/>
          </p:nvPr>
        </p:nvSpPr>
        <p:spPr>
          <a:xfrm>
            <a:off x="473075" y="465927"/>
            <a:ext cx="5165725" cy="640080"/>
          </a:xfrm>
        </p:spPr>
        <p:txBody>
          <a:bodyPr/>
          <a:lstStyle/>
          <a:p>
            <a:r>
              <a:rPr lang="en-US"/>
              <a:t>Click to edit Master title style</a:t>
            </a:r>
          </a:p>
        </p:txBody>
      </p:sp>
      <p:sp>
        <p:nvSpPr>
          <p:cNvPr id="9" name="Picture Placeholder 4">
            <a:extLst>
              <a:ext uri="{FF2B5EF4-FFF2-40B4-BE49-F238E27FC236}">
                <a16:creationId xmlns:a16="http://schemas.microsoft.com/office/drawing/2014/main" id="{0A8188DC-6A49-AE43-B6BF-32186F665DF8}"/>
              </a:ext>
            </a:extLst>
          </p:cNvPr>
          <p:cNvSpPr>
            <a:spLocks noGrp="1"/>
          </p:cNvSpPr>
          <p:nvPr>
            <p:ph type="pic" sz="quarter" idx="12"/>
          </p:nvPr>
        </p:nvSpPr>
        <p:spPr>
          <a:xfrm>
            <a:off x="6098876" y="453561"/>
            <a:ext cx="5638345"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468923 w 5630530"/>
              <a:gd name="connsiteY0" fmla="*/ 344211 h 5947240"/>
              <a:gd name="connsiteX1" fmla="*/ 809494 w 5630530"/>
              <a:gd name="connsiteY1" fmla="*/ 3640 h 5947240"/>
              <a:gd name="connsiteX2" fmla="*/ 5628696 w 5630530"/>
              <a:gd name="connsiteY2" fmla="*/ 0 h 5947240"/>
              <a:gd name="connsiteX3" fmla="*/ 5627534 w 5630530"/>
              <a:gd name="connsiteY3" fmla="*/ 5606669 h 5947240"/>
              <a:gd name="connsiteX4" fmla="*/ 5286963 w 5630530"/>
              <a:gd name="connsiteY4" fmla="*/ 5947240 h 5947240"/>
              <a:gd name="connsiteX5" fmla="*/ 809494 w 5630530"/>
              <a:gd name="connsiteY5" fmla="*/ 5947240 h 5947240"/>
              <a:gd name="connsiteX6" fmla="*/ 0 w 5630530"/>
              <a:gd name="connsiteY6" fmla="*/ 5598853 h 5947240"/>
              <a:gd name="connsiteX7" fmla="*/ 468923 w 5630530"/>
              <a:gd name="connsiteY7" fmla="*/ 344211 h 5947240"/>
              <a:gd name="connsiteX0" fmla="*/ 0 w 5638345"/>
              <a:gd name="connsiteY0" fmla="*/ 352027 h 5947240"/>
              <a:gd name="connsiteX1" fmla="*/ 817309 w 5638345"/>
              <a:gd name="connsiteY1" fmla="*/ 3640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293678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356202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8345" h="5947240">
                <a:moveTo>
                  <a:pt x="0" y="352027"/>
                </a:moveTo>
                <a:cubicBezTo>
                  <a:pt x="0" y="163935"/>
                  <a:pt x="168110" y="11455"/>
                  <a:pt x="356202" y="11455"/>
                </a:cubicBezTo>
                <a:lnTo>
                  <a:pt x="5636511" y="0"/>
                </a:lnTo>
                <a:cubicBezTo>
                  <a:pt x="5640547" y="2407"/>
                  <a:pt x="5636886" y="4630086"/>
                  <a:pt x="5635349" y="5606669"/>
                </a:cubicBezTo>
                <a:cubicBezTo>
                  <a:pt x="5635349" y="5794761"/>
                  <a:pt x="5482870" y="5947240"/>
                  <a:pt x="5294778" y="5947240"/>
                </a:cubicBezTo>
                <a:lnTo>
                  <a:pt x="364016" y="5947240"/>
                </a:lnTo>
                <a:cubicBezTo>
                  <a:pt x="175924" y="5947240"/>
                  <a:pt x="7815" y="5786945"/>
                  <a:pt x="7815" y="5598853"/>
                </a:cubicBezTo>
                <a:lnTo>
                  <a:pt x="0" y="352027"/>
                </a:lnTo>
                <a:close/>
              </a:path>
            </a:pathLst>
          </a:custGeom>
          <a:solidFill>
            <a:schemeClr val="accent5"/>
          </a:solidFill>
        </p:spPr>
        <p:txBody>
          <a:bodyPr vert="horz" lIns="137160" tIns="274320" rIns="137160" bIns="274320" rtlCol="0" anchor="t" anchorCtr="0">
            <a:noAutofit/>
          </a:bodyPr>
          <a:lstStyle>
            <a:lvl1pPr marL="0" indent="0">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8" name="Slide Number Placeholder 7">
            <a:extLst>
              <a:ext uri="{FF2B5EF4-FFF2-40B4-BE49-F238E27FC236}">
                <a16:creationId xmlns:a16="http://schemas.microsoft.com/office/drawing/2014/main" id="{A3D8097F-9D9E-2647-B5DA-D73437AF7430}"/>
              </a:ext>
            </a:extLst>
          </p:cNvPr>
          <p:cNvSpPr>
            <a:spLocks noGrp="1"/>
          </p:cNvSpPr>
          <p:nvPr>
            <p:ph type="sldNum" sz="quarter" idx="13"/>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410943085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Pic Recangle Left: Brow &amp; Text">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D865E613-40AA-2042-8BBE-482E69E35B1F}"/>
              </a:ext>
            </a:extLst>
          </p:cNvPr>
          <p:cNvSpPr>
            <a:spLocks noGrp="1"/>
          </p:cNvSpPr>
          <p:nvPr>
            <p:ph sz="quarter" idx="11"/>
          </p:nvPr>
        </p:nvSpPr>
        <p:spPr>
          <a:xfrm>
            <a:off x="8656320" y="1737360"/>
            <a:ext cx="3062606" cy="4663439"/>
          </a:xfrm>
          <a:prstGeom prst="rect">
            <a:avLst/>
          </a:prstGeom>
        </p:spPr>
        <p:txBody>
          <a:bodyPr anchor="ctr" anchorCtr="0"/>
          <a:lstStyle>
            <a:lvl1pPr marL="230188" indent="-230188">
              <a:buClr>
                <a:schemeClr val="tx1"/>
              </a:buClr>
              <a:buFontTx/>
              <a:buBlip>
                <a:blip r:embed="rId3"/>
              </a:buBlip>
              <a:defRPr sz="2000"/>
            </a:lvl1pPr>
            <a:lvl2pPr>
              <a:buClr>
                <a:schemeClr val="tx1"/>
              </a:buClr>
              <a:defRPr sz="1600"/>
            </a:lvl2pPr>
            <a:lvl3pPr>
              <a:buClr>
                <a:schemeClr val="tx1"/>
              </a:buClr>
              <a:defRPr sz="1600"/>
            </a:lvl3pPr>
            <a:lvl4pPr>
              <a:buClr>
                <a:schemeClr val="tx1"/>
              </a:buClr>
              <a:defRPr sz="1600"/>
            </a:lvl4pPr>
            <a:lvl5pPr>
              <a:buClr>
                <a:schemeClr val="tx1"/>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4">
            <a:extLst>
              <a:ext uri="{FF2B5EF4-FFF2-40B4-BE49-F238E27FC236}">
                <a16:creationId xmlns:a16="http://schemas.microsoft.com/office/drawing/2014/main" id="{1679306A-E035-CE47-A814-D4626EE17B76}"/>
              </a:ext>
            </a:extLst>
          </p:cNvPr>
          <p:cNvSpPr>
            <a:spLocks noGrp="1"/>
          </p:cNvSpPr>
          <p:nvPr>
            <p:ph type="title"/>
          </p:nvPr>
        </p:nvSpPr>
        <p:spPr>
          <a:xfrm>
            <a:off x="8656319" y="457200"/>
            <a:ext cx="3062607" cy="640080"/>
          </a:xfrm>
        </p:spPr>
        <p:txBody>
          <a:bodyPr/>
          <a:lstStyle/>
          <a:p>
            <a:r>
              <a:rPr lang="en-US"/>
              <a:t>Click to edit Master title style</a:t>
            </a:r>
            <a:endParaRPr lang="en-US" dirty="0"/>
          </a:p>
        </p:txBody>
      </p:sp>
      <p:sp>
        <p:nvSpPr>
          <p:cNvPr id="16" name="Picture Placeholder 4">
            <a:extLst>
              <a:ext uri="{FF2B5EF4-FFF2-40B4-BE49-F238E27FC236}">
                <a16:creationId xmlns:a16="http://schemas.microsoft.com/office/drawing/2014/main" id="{F1C0D3B4-289D-B34A-939F-B8FEDE5CF598}"/>
              </a:ext>
            </a:extLst>
          </p:cNvPr>
          <p:cNvSpPr>
            <a:spLocks noGrp="1"/>
          </p:cNvSpPr>
          <p:nvPr>
            <p:ph type="pic" sz="quarter" idx="12"/>
          </p:nvPr>
        </p:nvSpPr>
        <p:spPr>
          <a:xfrm>
            <a:off x="473075" y="453561"/>
            <a:ext cx="7724192"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468923 w 5630530"/>
              <a:gd name="connsiteY0" fmla="*/ 344211 h 5947240"/>
              <a:gd name="connsiteX1" fmla="*/ 809494 w 5630530"/>
              <a:gd name="connsiteY1" fmla="*/ 3640 h 5947240"/>
              <a:gd name="connsiteX2" fmla="*/ 5628696 w 5630530"/>
              <a:gd name="connsiteY2" fmla="*/ 0 h 5947240"/>
              <a:gd name="connsiteX3" fmla="*/ 5627534 w 5630530"/>
              <a:gd name="connsiteY3" fmla="*/ 5606669 h 5947240"/>
              <a:gd name="connsiteX4" fmla="*/ 5286963 w 5630530"/>
              <a:gd name="connsiteY4" fmla="*/ 5947240 h 5947240"/>
              <a:gd name="connsiteX5" fmla="*/ 809494 w 5630530"/>
              <a:gd name="connsiteY5" fmla="*/ 5947240 h 5947240"/>
              <a:gd name="connsiteX6" fmla="*/ 0 w 5630530"/>
              <a:gd name="connsiteY6" fmla="*/ 5598853 h 5947240"/>
              <a:gd name="connsiteX7" fmla="*/ 468923 w 5630530"/>
              <a:gd name="connsiteY7" fmla="*/ 344211 h 5947240"/>
              <a:gd name="connsiteX0" fmla="*/ 0 w 5638345"/>
              <a:gd name="connsiteY0" fmla="*/ 352027 h 5947240"/>
              <a:gd name="connsiteX1" fmla="*/ 817309 w 5638345"/>
              <a:gd name="connsiteY1" fmla="*/ 3640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293678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356202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7723733"/>
              <a:gd name="connsiteY0" fmla="*/ 352027 h 5947240"/>
              <a:gd name="connsiteX1" fmla="*/ 356202 w 7723733"/>
              <a:gd name="connsiteY1" fmla="*/ 11455 h 5947240"/>
              <a:gd name="connsiteX2" fmla="*/ 7723728 w 7723733"/>
              <a:gd name="connsiteY2" fmla="*/ 0 h 5947240"/>
              <a:gd name="connsiteX3" fmla="*/ 5635349 w 7723733"/>
              <a:gd name="connsiteY3" fmla="*/ 5606669 h 5947240"/>
              <a:gd name="connsiteX4" fmla="*/ 5294778 w 7723733"/>
              <a:gd name="connsiteY4" fmla="*/ 5947240 h 5947240"/>
              <a:gd name="connsiteX5" fmla="*/ 364016 w 7723733"/>
              <a:gd name="connsiteY5" fmla="*/ 5947240 h 5947240"/>
              <a:gd name="connsiteX6" fmla="*/ 7815 w 7723733"/>
              <a:gd name="connsiteY6" fmla="*/ 5598853 h 5947240"/>
              <a:gd name="connsiteX7" fmla="*/ 0 w 772373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5294778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91934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22360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192"/>
              <a:gd name="connsiteY0" fmla="*/ 352027 h 5947240"/>
              <a:gd name="connsiteX1" fmla="*/ 356202 w 7724192"/>
              <a:gd name="connsiteY1" fmla="*/ 11455 h 5947240"/>
              <a:gd name="connsiteX2" fmla="*/ 7723728 w 7724192"/>
              <a:gd name="connsiteY2" fmla="*/ 0 h 5947240"/>
              <a:gd name="connsiteX3" fmla="*/ 7702688 w 7724192"/>
              <a:gd name="connsiteY3" fmla="*/ 5606669 h 5947240"/>
              <a:gd name="connsiteX4" fmla="*/ 7322360 w 7724192"/>
              <a:gd name="connsiteY4" fmla="*/ 5947240 h 5947240"/>
              <a:gd name="connsiteX5" fmla="*/ 364016 w 7724192"/>
              <a:gd name="connsiteY5" fmla="*/ 5947240 h 5947240"/>
              <a:gd name="connsiteX6" fmla="*/ 7815 w 7724192"/>
              <a:gd name="connsiteY6" fmla="*/ 5598853 h 5947240"/>
              <a:gd name="connsiteX7" fmla="*/ 0 w 7724192"/>
              <a:gd name="connsiteY7" fmla="*/ 352027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4192" h="5947240">
                <a:moveTo>
                  <a:pt x="0" y="352027"/>
                </a:moveTo>
                <a:cubicBezTo>
                  <a:pt x="0" y="163935"/>
                  <a:pt x="168110" y="11455"/>
                  <a:pt x="356202" y="11455"/>
                </a:cubicBezTo>
                <a:lnTo>
                  <a:pt x="7723728" y="0"/>
                </a:lnTo>
                <a:cubicBezTo>
                  <a:pt x="7727764" y="2407"/>
                  <a:pt x="7704225" y="4630086"/>
                  <a:pt x="7702688" y="5606669"/>
                </a:cubicBezTo>
                <a:cubicBezTo>
                  <a:pt x="7702688" y="5794761"/>
                  <a:pt x="7510452" y="5947240"/>
                  <a:pt x="7322360" y="5947240"/>
                </a:cubicBezTo>
                <a:lnTo>
                  <a:pt x="364016" y="5947240"/>
                </a:lnTo>
                <a:cubicBezTo>
                  <a:pt x="175924" y="5947240"/>
                  <a:pt x="7815" y="5786945"/>
                  <a:pt x="7815" y="5598853"/>
                </a:cubicBezTo>
                <a:lnTo>
                  <a:pt x="0" y="352027"/>
                </a:lnTo>
                <a:close/>
              </a:path>
            </a:pathLst>
          </a:custGeom>
          <a:solidFill>
            <a:schemeClr val="accent5"/>
          </a:solidFill>
        </p:spPr>
        <p:txBody>
          <a:bodyPr vert="horz" lIns="137160" tIns="274320" rIns="137160" bIns="274320" rtlCol="0" anchor="t" anchorCtr="0">
            <a:noAutofit/>
          </a:bodyPr>
          <a:lstStyle>
            <a:lvl1pPr marL="0" indent="0">
              <a:buFontTx/>
              <a:buNone/>
              <a:defRPr lang="en-US" sz="1800" dirty="0">
                <a:noFill/>
              </a:defRPr>
            </a:lvl1pPr>
          </a:lstStyle>
          <a:p>
            <a:pPr lvl="0" algn="ctr">
              <a:buFont typeface="Arial" panose="020B0604020202020204" pitchFamily="34" charset="0"/>
              <a:buNone/>
            </a:pPr>
            <a:r>
              <a:rPr lang="en-US"/>
              <a:t>Click icon to add picture</a:t>
            </a:r>
            <a:endParaRPr lang="en-US" dirty="0"/>
          </a:p>
        </p:txBody>
      </p:sp>
      <p:sp>
        <p:nvSpPr>
          <p:cNvPr id="25" name="Slide Number Placeholder 24">
            <a:extLst>
              <a:ext uri="{FF2B5EF4-FFF2-40B4-BE49-F238E27FC236}">
                <a16:creationId xmlns:a16="http://schemas.microsoft.com/office/drawing/2014/main" id="{849A903B-4415-4646-B995-E47A9EDA5D8D}"/>
              </a:ext>
            </a:extLst>
          </p:cNvPr>
          <p:cNvSpPr>
            <a:spLocks noGrp="1"/>
          </p:cNvSpPr>
          <p:nvPr>
            <p:ph type="sldNum" sz="quarter" idx="13"/>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49273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ic 3x Rounded Corners 3:2: Brow and Text">
    <p:bg>
      <p:bgPr>
        <a:solidFill>
          <a:schemeClr val="bg1"/>
        </a:solidFill>
        <a:effectLst/>
      </p:bgPr>
    </p:bg>
    <p:spTree>
      <p:nvGrpSpPr>
        <p:cNvPr id="1" name=""/>
        <p:cNvGrpSpPr/>
        <p:nvPr/>
      </p:nvGrpSpPr>
      <p:grpSpPr>
        <a:xfrm>
          <a:off x="0" y="0"/>
          <a:ext cx="0" cy="0"/>
          <a:chOff x="0" y="0"/>
          <a:chExt cx="0" cy="0"/>
        </a:xfrm>
      </p:grpSpPr>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473076"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hasCustomPrompt="1"/>
          </p:nvPr>
        </p:nvSpPr>
        <p:spPr>
          <a:xfrm>
            <a:off x="473076" y="1164006"/>
            <a:ext cx="11245850" cy="2103120"/>
          </a:xfrm>
          <a:prstGeom prst="rect">
            <a:avLst/>
          </a:prstGeom>
        </p:spPr>
        <p:txBody>
          <a:bodyPr/>
          <a:lstStyle>
            <a:lvl1pPr marL="0" indent="0" algn="ctr">
              <a:buFont typeface="Arial" panose="020B0604020202020204" pitchFamily="34" charset="0"/>
              <a:buNone/>
              <a:defRPr sz="2000"/>
            </a:lvl1pPr>
          </a:lstStyle>
          <a:p>
            <a:pPr lvl="0"/>
            <a:r>
              <a:rPr lang="en-US" dirty="0"/>
              <a:t>Edit Master Styles</a:t>
            </a:r>
          </a:p>
        </p:txBody>
      </p:sp>
      <p:sp>
        <p:nvSpPr>
          <p:cNvPr id="2" name="Title 1">
            <a:extLst>
              <a:ext uri="{FF2B5EF4-FFF2-40B4-BE49-F238E27FC236}">
                <a16:creationId xmlns:a16="http://schemas.microsoft.com/office/drawing/2014/main" id="{244324FC-DA88-024C-B850-9A3B70FA296C}"/>
              </a:ext>
            </a:extLst>
          </p:cNvPr>
          <p:cNvSpPr>
            <a:spLocks noGrp="1"/>
          </p:cNvSpPr>
          <p:nvPr>
            <p:ph type="title"/>
          </p:nvPr>
        </p:nvSpPr>
        <p:spPr/>
        <p:txBody>
          <a:bodyPr/>
          <a:lstStyle/>
          <a:p>
            <a:r>
              <a:rPr lang="en-US"/>
              <a:t>Click to edit Master title style</a:t>
            </a:r>
          </a:p>
        </p:txBody>
      </p:sp>
      <p:sp>
        <p:nvSpPr>
          <p:cNvPr id="13" name="Picture Placeholder 4">
            <a:extLst>
              <a:ext uri="{FF2B5EF4-FFF2-40B4-BE49-F238E27FC236}">
                <a16:creationId xmlns:a16="http://schemas.microsoft.com/office/drawing/2014/main" id="{748BFDC7-BD18-0F4A-9CA2-B7EDF05E7E67}"/>
              </a:ext>
            </a:extLst>
          </p:cNvPr>
          <p:cNvSpPr>
            <a:spLocks noGrp="1"/>
          </p:cNvSpPr>
          <p:nvPr>
            <p:ph type="pic" sz="quarter" idx="22"/>
          </p:nvPr>
        </p:nvSpPr>
        <p:spPr>
          <a:xfrm>
            <a:off x="4267200"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4C630D1A-4F2A-EA4A-AEDE-FE3DFA175573}"/>
              </a:ext>
            </a:extLst>
          </p:cNvPr>
          <p:cNvSpPr>
            <a:spLocks noGrp="1"/>
          </p:cNvSpPr>
          <p:nvPr>
            <p:ph type="pic" sz="quarter" idx="23"/>
          </p:nvPr>
        </p:nvSpPr>
        <p:spPr>
          <a:xfrm>
            <a:off x="8067206" y="3749040"/>
            <a:ext cx="3658078" cy="233172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8078" h="2331720">
                <a:moveTo>
                  <a:pt x="0" y="201274"/>
                </a:moveTo>
                <a:cubicBezTo>
                  <a:pt x="0" y="90113"/>
                  <a:pt x="90113" y="0"/>
                  <a:pt x="201274" y="0"/>
                </a:cubicBezTo>
                <a:lnTo>
                  <a:pt x="3655716" y="0"/>
                </a:lnTo>
                <a:cubicBezTo>
                  <a:pt x="3660164" y="5824"/>
                  <a:pt x="3656965" y="1741826"/>
                  <a:pt x="3656965" y="2130446"/>
                </a:cubicBezTo>
                <a:cubicBezTo>
                  <a:pt x="3656965" y="2241607"/>
                  <a:pt x="3566852" y="2331720"/>
                  <a:pt x="3455691"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5" name="Slide Number Placeholder 4">
            <a:extLst>
              <a:ext uri="{FF2B5EF4-FFF2-40B4-BE49-F238E27FC236}">
                <a16:creationId xmlns:a16="http://schemas.microsoft.com/office/drawing/2014/main" id="{107C7EC9-09B4-F944-9598-B2A5B748A788}"/>
              </a:ext>
            </a:extLst>
          </p:cNvPr>
          <p:cNvSpPr>
            <a:spLocks noGrp="1"/>
          </p:cNvSpPr>
          <p:nvPr>
            <p:ph type="sldNum" sz="quarter" idx="24"/>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346695942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ic 3x Corners 3:2: Brow and Tex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hasCustomPrompt="1"/>
          </p:nvPr>
        </p:nvSpPr>
        <p:spPr>
          <a:xfrm>
            <a:off x="473076" y="1164006"/>
            <a:ext cx="11245850" cy="2103120"/>
          </a:xfrm>
          <a:prstGeom prst="rect">
            <a:avLst/>
          </a:prstGeom>
        </p:spPr>
        <p:txBody>
          <a:bodyPr/>
          <a:lstStyle>
            <a:lvl1pPr marL="0" indent="0" algn="ctr">
              <a:buFont typeface="Arial" panose="020B0604020202020204" pitchFamily="34" charset="0"/>
              <a:buNone/>
              <a:defRPr sz="2000"/>
            </a:lvl1pPr>
          </a:lstStyle>
          <a:p>
            <a:pPr lvl="0"/>
            <a:r>
              <a:rPr lang="en-US" dirty="0"/>
              <a:t>Edit Master Styles</a:t>
            </a:r>
          </a:p>
        </p:txBody>
      </p:sp>
      <p:sp>
        <p:nvSpPr>
          <p:cNvPr id="2" name="Title 1">
            <a:extLst>
              <a:ext uri="{FF2B5EF4-FFF2-40B4-BE49-F238E27FC236}">
                <a16:creationId xmlns:a16="http://schemas.microsoft.com/office/drawing/2014/main" id="{244324FC-DA88-024C-B850-9A3B70FA29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07C7EC9-09B4-F944-9598-B2A5B748A788}"/>
              </a:ext>
            </a:extLst>
          </p:cNvPr>
          <p:cNvSpPr>
            <a:spLocks noGrp="1"/>
          </p:cNvSpPr>
          <p:nvPr>
            <p:ph type="sldNum" sz="quarter" idx="24"/>
          </p:nvPr>
        </p:nvSpPr>
        <p:spPr>
          <a:xfrm>
            <a:off x="11693924" y="6487053"/>
            <a:ext cx="254237" cy="142347"/>
          </a:xfrm>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11" name="Picture Placeholder 4">
            <a:extLst>
              <a:ext uri="{FF2B5EF4-FFF2-40B4-BE49-F238E27FC236}">
                <a16:creationId xmlns:a16="http://schemas.microsoft.com/office/drawing/2014/main" id="{81CDAB73-EF81-E241-816A-0BFA45F3BD7D}"/>
              </a:ext>
            </a:extLst>
          </p:cNvPr>
          <p:cNvSpPr>
            <a:spLocks noGrp="1"/>
          </p:cNvSpPr>
          <p:nvPr>
            <p:ph type="pic" sz="quarter" idx="10"/>
          </p:nvPr>
        </p:nvSpPr>
        <p:spPr>
          <a:xfrm>
            <a:off x="8061324" y="3749040"/>
            <a:ext cx="3663961"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2" name="Picture Placeholder 4">
            <a:extLst>
              <a:ext uri="{FF2B5EF4-FFF2-40B4-BE49-F238E27FC236}">
                <a16:creationId xmlns:a16="http://schemas.microsoft.com/office/drawing/2014/main" id="{8AB714AD-04ED-D14E-AA32-32ABD684B03D}"/>
              </a:ext>
            </a:extLst>
          </p:cNvPr>
          <p:cNvSpPr>
            <a:spLocks noGrp="1"/>
          </p:cNvSpPr>
          <p:nvPr>
            <p:ph type="pic" sz="quarter" idx="19"/>
          </p:nvPr>
        </p:nvSpPr>
        <p:spPr>
          <a:xfrm>
            <a:off x="4273082" y="3749040"/>
            <a:ext cx="3652196"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5" name="Picture Placeholder 4">
            <a:extLst>
              <a:ext uri="{FF2B5EF4-FFF2-40B4-BE49-F238E27FC236}">
                <a16:creationId xmlns:a16="http://schemas.microsoft.com/office/drawing/2014/main" id="{26D08B4C-08CB-DB42-9ACF-6D152954B296}"/>
              </a:ext>
            </a:extLst>
          </p:cNvPr>
          <p:cNvSpPr>
            <a:spLocks noGrp="1"/>
          </p:cNvSpPr>
          <p:nvPr>
            <p:ph type="pic" sz="quarter" idx="25"/>
          </p:nvPr>
        </p:nvSpPr>
        <p:spPr>
          <a:xfrm>
            <a:off x="473074" y="3749040"/>
            <a:ext cx="3652197"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Tree>
    <p:custDataLst>
      <p:tags r:id="rId1"/>
    </p:custDataLst>
    <p:extLst>
      <p:ext uri="{BB962C8B-B14F-4D97-AF65-F5344CB8AC3E}">
        <p14:creationId xmlns:p14="http://schemas.microsoft.com/office/powerpoint/2010/main" val="160842516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Pics 3x Square: Brow and Text">
    <p:bg>
      <p:bgPr>
        <a:solidFill>
          <a:schemeClr val="bg1"/>
        </a:solidFill>
        <a:effectLst/>
      </p:bgPr>
    </p:bg>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6880F47F-F674-B44C-A09F-58D1737190CB}"/>
              </a:ext>
            </a:extLst>
          </p:cNvPr>
          <p:cNvSpPr>
            <a:spLocks noGrp="1"/>
          </p:cNvSpPr>
          <p:nvPr>
            <p:ph type="pic" sz="quarter" idx="21"/>
          </p:nvPr>
        </p:nvSpPr>
        <p:spPr>
          <a:xfrm>
            <a:off x="4021071"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30D4F522-AF5A-F944-8A53-12A92CE142F3}"/>
              </a:ext>
            </a:extLst>
          </p:cNvPr>
          <p:cNvSpPr>
            <a:spLocks noGrp="1"/>
          </p:cNvSpPr>
          <p:nvPr>
            <p:ph type="pic" sz="quarter" idx="22"/>
          </p:nvPr>
        </p:nvSpPr>
        <p:spPr>
          <a:xfrm>
            <a:off x="6627111"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5" name="Picture Placeholder 4">
            <a:extLst>
              <a:ext uri="{FF2B5EF4-FFF2-40B4-BE49-F238E27FC236}">
                <a16:creationId xmlns:a16="http://schemas.microsoft.com/office/drawing/2014/main" id="{A64242F8-6C64-BC40-ADF5-0D67C98ABC5C}"/>
              </a:ext>
            </a:extLst>
          </p:cNvPr>
          <p:cNvSpPr>
            <a:spLocks noGrp="1"/>
          </p:cNvSpPr>
          <p:nvPr>
            <p:ph type="pic" sz="quarter" idx="23"/>
          </p:nvPr>
        </p:nvSpPr>
        <p:spPr>
          <a:xfrm>
            <a:off x="9229922" y="2240280"/>
            <a:ext cx="2486409" cy="2606040"/>
          </a:xfrm>
          <a:custGeom>
            <a:avLst/>
            <a:gdLst>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01274 h 2331720"/>
              <a:gd name="connsiteX4" fmla="*/ 3656965 w 3656965"/>
              <a:gd name="connsiteY4" fmla="*/ 2130446 h 2331720"/>
              <a:gd name="connsiteX5" fmla="*/ 3455691 w 3656965"/>
              <a:gd name="connsiteY5" fmla="*/ 2331720 h 2331720"/>
              <a:gd name="connsiteX6" fmla="*/ 201274 w 3656965"/>
              <a:gd name="connsiteY6" fmla="*/ 2331720 h 2331720"/>
              <a:gd name="connsiteX7" fmla="*/ 0 w 3656965"/>
              <a:gd name="connsiteY7" fmla="*/ 2130446 h 2331720"/>
              <a:gd name="connsiteX8" fmla="*/ 0 w 3656965"/>
              <a:gd name="connsiteY8" fmla="*/ 201274 h 2331720"/>
              <a:gd name="connsiteX0" fmla="*/ 0 w 3776747"/>
              <a:gd name="connsiteY0" fmla="*/ 201274 h 2331720"/>
              <a:gd name="connsiteX1" fmla="*/ 201274 w 3776747"/>
              <a:gd name="connsiteY1" fmla="*/ 0 h 2331720"/>
              <a:gd name="connsiteX2" fmla="*/ 3455691 w 3776747"/>
              <a:gd name="connsiteY2" fmla="*/ 0 h 2331720"/>
              <a:gd name="connsiteX3" fmla="*/ 3656965 w 3776747"/>
              <a:gd name="connsiteY3" fmla="*/ 2130446 h 2331720"/>
              <a:gd name="connsiteX4" fmla="*/ 3455691 w 3776747"/>
              <a:gd name="connsiteY4" fmla="*/ 2331720 h 2331720"/>
              <a:gd name="connsiteX5" fmla="*/ 201274 w 3776747"/>
              <a:gd name="connsiteY5" fmla="*/ 2331720 h 2331720"/>
              <a:gd name="connsiteX6" fmla="*/ 0 w 3776747"/>
              <a:gd name="connsiteY6" fmla="*/ 2130446 h 2331720"/>
              <a:gd name="connsiteX7" fmla="*/ 0 w 3776747"/>
              <a:gd name="connsiteY7" fmla="*/ 201274 h 2331720"/>
              <a:gd name="connsiteX0" fmla="*/ 0 w 3656965"/>
              <a:gd name="connsiteY0" fmla="*/ 201274 h 2331720"/>
              <a:gd name="connsiteX1" fmla="*/ 201274 w 3656965"/>
              <a:gd name="connsiteY1" fmla="*/ 0 h 2331720"/>
              <a:gd name="connsiteX2" fmla="*/ 3455691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8078"/>
              <a:gd name="connsiteY0" fmla="*/ 201274 h 2331720"/>
              <a:gd name="connsiteX1" fmla="*/ 201274 w 3658078"/>
              <a:gd name="connsiteY1" fmla="*/ 0 h 2331720"/>
              <a:gd name="connsiteX2" fmla="*/ 3655716 w 3658078"/>
              <a:gd name="connsiteY2" fmla="*/ 0 h 2331720"/>
              <a:gd name="connsiteX3" fmla="*/ 3656965 w 3658078"/>
              <a:gd name="connsiteY3" fmla="*/ 2130446 h 2331720"/>
              <a:gd name="connsiteX4" fmla="*/ 3455691 w 3658078"/>
              <a:gd name="connsiteY4" fmla="*/ 2331720 h 2331720"/>
              <a:gd name="connsiteX5" fmla="*/ 201274 w 3658078"/>
              <a:gd name="connsiteY5" fmla="*/ 2331720 h 2331720"/>
              <a:gd name="connsiteX6" fmla="*/ 0 w 3658078"/>
              <a:gd name="connsiteY6" fmla="*/ 2130446 h 2331720"/>
              <a:gd name="connsiteX7" fmla="*/ 0 w 3658078"/>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3455691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3656965"/>
              <a:gd name="connsiteY0" fmla="*/ 201274 h 2331720"/>
              <a:gd name="connsiteX1" fmla="*/ 201274 w 3656965"/>
              <a:gd name="connsiteY1" fmla="*/ 0 h 2331720"/>
              <a:gd name="connsiteX2" fmla="*/ 2222320 w 3656965"/>
              <a:gd name="connsiteY2" fmla="*/ 0 h 2331720"/>
              <a:gd name="connsiteX3" fmla="*/ 3656965 w 3656965"/>
              <a:gd name="connsiteY3" fmla="*/ 2130446 h 2331720"/>
              <a:gd name="connsiteX4" fmla="*/ 2048239 w 3656965"/>
              <a:gd name="connsiteY4" fmla="*/ 2331720 h 2331720"/>
              <a:gd name="connsiteX5" fmla="*/ 201274 w 3656965"/>
              <a:gd name="connsiteY5" fmla="*/ 2331720 h 2331720"/>
              <a:gd name="connsiteX6" fmla="*/ 0 w 3656965"/>
              <a:gd name="connsiteY6" fmla="*/ 2130446 h 2331720"/>
              <a:gd name="connsiteX7" fmla="*/ 0 w 3656965"/>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69 w 2224682"/>
              <a:gd name="connsiteY3" fmla="*/ 2156390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48239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 name="connsiteX0" fmla="*/ 0 w 2224682"/>
              <a:gd name="connsiteY0" fmla="*/ 201274 h 2331720"/>
              <a:gd name="connsiteX1" fmla="*/ 201274 w 2224682"/>
              <a:gd name="connsiteY1" fmla="*/ 0 h 2331720"/>
              <a:gd name="connsiteX2" fmla="*/ 2222320 w 2224682"/>
              <a:gd name="connsiteY2" fmla="*/ 0 h 2331720"/>
              <a:gd name="connsiteX3" fmla="*/ 2223570 w 2224682"/>
              <a:gd name="connsiteY3" fmla="*/ 2126796 h 2331720"/>
              <a:gd name="connsiteX4" fmla="*/ 2009767 w 2224682"/>
              <a:gd name="connsiteY4" fmla="*/ 2331720 h 2331720"/>
              <a:gd name="connsiteX5" fmla="*/ 201274 w 2224682"/>
              <a:gd name="connsiteY5" fmla="*/ 2331720 h 2331720"/>
              <a:gd name="connsiteX6" fmla="*/ 0 w 2224682"/>
              <a:gd name="connsiteY6" fmla="*/ 2130446 h 2331720"/>
              <a:gd name="connsiteX7" fmla="*/ 0 w 2224682"/>
              <a:gd name="connsiteY7" fmla="*/ 201274 h 23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682" h="2331720">
                <a:moveTo>
                  <a:pt x="0" y="201274"/>
                </a:moveTo>
                <a:cubicBezTo>
                  <a:pt x="0" y="90113"/>
                  <a:pt x="90113" y="0"/>
                  <a:pt x="201274" y="0"/>
                </a:cubicBezTo>
                <a:lnTo>
                  <a:pt x="2222320" y="0"/>
                </a:lnTo>
                <a:cubicBezTo>
                  <a:pt x="2226768" y="5824"/>
                  <a:pt x="2223570" y="1738176"/>
                  <a:pt x="2223570" y="2126796"/>
                </a:cubicBezTo>
                <a:cubicBezTo>
                  <a:pt x="2223570" y="2237957"/>
                  <a:pt x="2120928" y="2331720"/>
                  <a:pt x="2009767" y="2331720"/>
                </a:cubicBezTo>
                <a:lnTo>
                  <a:pt x="201274" y="2331720"/>
                </a:lnTo>
                <a:cubicBezTo>
                  <a:pt x="90113" y="2331720"/>
                  <a:pt x="0" y="2241607"/>
                  <a:pt x="0" y="2130446"/>
                </a:cubicBezTo>
                <a:lnTo>
                  <a:pt x="0" y="201274"/>
                </a:ln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3" name="Slide Number Placeholder 2">
            <a:extLst>
              <a:ext uri="{FF2B5EF4-FFF2-40B4-BE49-F238E27FC236}">
                <a16:creationId xmlns:a16="http://schemas.microsoft.com/office/drawing/2014/main" id="{23567A0B-1088-E047-9FB4-02B348956588}"/>
              </a:ext>
            </a:extLst>
          </p:cNvPr>
          <p:cNvSpPr>
            <a:spLocks noGrp="1"/>
          </p:cNvSpPr>
          <p:nvPr>
            <p:ph type="sldNum" sz="quarter" idx="24"/>
          </p:nvPr>
        </p:nvSpPr>
        <p:spPr/>
        <p:txBody>
          <a:bodyPr/>
          <a:lstStyle>
            <a:lvl1pPr algn="ctr">
              <a:defRPr/>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3">
            <a:extLst>
              <a:ext uri="{FF2B5EF4-FFF2-40B4-BE49-F238E27FC236}">
                <a16:creationId xmlns:a16="http://schemas.microsoft.com/office/drawing/2014/main" id="{0565A970-4684-2F4D-98F0-4F5379F1F21E}"/>
              </a:ext>
            </a:extLst>
          </p:cNvPr>
          <p:cNvSpPr>
            <a:spLocks noGrp="1"/>
          </p:cNvSpPr>
          <p:nvPr>
            <p:ph type="title"/>
          </p:nvPr>
        </p:nvSpPr>
        <p:spPr/>
        <p:txBody>
          <a:bodyPr/>
          <a:lstStyle/>
          <a:p>
            <a:r>
              <a:rPr lang="en-US"/>
              <a:t>Click to edit Master title style</a:t>
            </a:r>
          </a:p>
        </p:txBody>
      </p:sp>
      <p:sp>
        <p:nvSpPr>
          <p:cNvPr id="9" name="Text Placeholder 2">
            <a:extLst>
              <a:ext uri="{FF2B5EF4-FFF2-40B4-BE49-F238E27FC236}">
                <a16:creationId xmlns:a16="http://schemas.microsoft.com/office/drawing/2014/main" id="{02BDD42C-F253-0643-A91B-BB12DB92EA85}"/>
              </a:ext>
            </a:extLst>
          </p:cNvPr>
          <p:cNvSpPr>
            <a:spLocks noGrp="1"/>
          </p:cNvSpPr>
          <p:nvPr>
            <p:ph idx="1"/>
          </p:nvPr>
        </p:nvSpPr>
        <p:spPr>
          <a:xfrm>
            <a:off x="473075" y="1280160"/>
            <a:ext cx="3108325" cy="5120640"/>
          </a:xfrm>
          <a:prstGeom prst="rect">
            <a:avLst/>
          </a:prstGeom>
        </p:spPr>
        <p:txBody>
          <a:bodyPr vert="horz" lIns="137160" tIns="91440" rIns="137160" bIns="27432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1"/>
    </p:custDataLst>
    <p:extLst>
      <p:ext uri="{BB962C8B-B14F-4D97-AF65-F5344CB8AC3E}">
        <p14:creationId xmlns:p14="http://schemas.microsoft.com/office/powerpoint/2010/main" val="173605306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ics 4x Grid: Brow &amp; Tex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6090624" y="3657599"/>
            <a:ext cx="2748576" cy="2746376"/>
          </a:xfrm>
          <a:custGeom>
            <a:avLst/>
            <a:gdLst>
              <a:gd name="connsiteX0" fmla="*/ 0 w 2743200"/>
              <a:gd name="connsiteY0" fmla="*/ 0 h 2743200"/>
              <a:gd name="connsiteX1" fmla="*/ 2743200 w 2743200"/>
              <a:gd name="connsiteY1" fmla="*/ 0 h 2743200"/>
              <a:gd name="connsiteX2" fmla="*/ 2743200 w 2743200"/>
              <a:gd name="connsiteY2" fmla="*/ 2743200 h 2743200"/>
              <a:gd name="connsiteX3" fmla="*/ 0 w 2743200"/>
              <a:gd name="connsiteY3" fmla="*/ 2743200 h 2743200"/>
              <a:gd name="connsiteX4" fmla="*/ 0 w 2743200"/>
              <a:gd name="connsiteY4" fmla="*/ 0 h 2743200"/>
              <a:gd name="connsiteX0" fmla="*/ 342900 w 3086100"/>
              <a:gd name="connsiteY0" fmla="*/ 0 h 3086100"/>
              <a:gd name="connsiteX1" fmla="*/ 3086100 w 3086100"/>
              <a:gd name="connsiteY1" fmla="*/ 0 h 3086100"/>
              <a:gd name="connsiteX2" fmla="*/ 3086100 w 3086100"/>
              <a:gd name="connsiteY2" fmla="*/ 2743200 h 3086100"/>
              <a:gd name="connsiteX3" fmla="*/ 342900 w 3086100"/>
              <a:gd name="connsiteY3" fmla="*/ 2743200 h 3086100"/>
              <a:gd name="connsiteX4" fmla="*/ 342900 w 3086100"/>
              <a:gd name="connsiteY4" fmla="*/ 0 h 3086100"/>
              <a:gd name="connsiteX0" fmla="*/ 348767 w 3091967"/>
              <a:gd name="connsiteY0" fmla="*/ 0 h 3011102"/>
              <a:gd name="connsiteX1" fmla="*/ 3091967 w 3091967"/>
              <a:gd name="connsiteY1" fmla="*/ 0 h 3011102"/>
              <a:gd name="connsiteX2" fmla="*/ 3091967 w 3091967"/>
              <a:gd name="connsiteY2" fmla="*/ 2743200 h 3011102"/>
              <a:gd name="connsiteX3" fmla="*/ 337143 w 3091967"/>
              <a:gd name="connsiteY3" fmla="*/ 2568844 h 3011102"/>
              <a:gd name="connsiteX4" fmla="*/ 348767 w 3091967"/>
              <a:gd name="connsiteY4" fmla="*/ 0 h 3011102"/>
              <a:gd name="connsiteX0" fmla="*/ 206259 w 2949459"/>
              <a:gd name="connsiteY0" fmla="*/ 0 h 2924885"/>
              <a:gd name="connsiteX1" fmla="*/ 2949459 w 2949459"/>
              <a:gd name="connsiteY1" fmla="*/ 0 h 2924885"/>
              <a:gd name="connsiteX2" fmla="*/ 2949459 w 2949459"/>
              <a:gd name="connsiteY2" fmla="*/ 2743200 h 2924885"/>
              <a:gd name="connsiteX3" fmla="*/ 194635 w 2949459"/>
              <a:gd name="connsiteY3" fmla="*/ 2568844 h 2924885"/>
              <a:gd name="connsiteX4" fmla="*/ 206259 w 2949459"/>
              <a:gd name="connsiteY4" fmla="*/ 0 h 2924885"/>
              <a:gd name="connsiteX0" fmla="*/ 11624 w 2754824"/>
              <a:gd name="connsiteY0" fmla="*/ 0 h 2924885"/>
              <a:gd name="connsiteX1" fmla="*/ 2754824 w 2754824"/>
              <a:gd name="connsiteY1" fmla="*/ 0 h 2924885"/>
              <a:gd name="connsiteX2" fmla="*/ 2754824 w 2754824"/>
              <a:gd name="connsiteY2" fmla="*/ 2743200 h 2924885"/>
              <a:gd name="connsiteX3" fmla="*/ 0 w 2754824"/>
              <a:gd name="connsiteY3" fmla="*/ 2568844 h 2924885"/>
              <a:gd name="connsiteX4" fmla="*/ 11624 w 2754824"/>
              <a:gd name="connsiteY4" fmla="*/ 0 h 2924885"/>
              <a:gd name="connsiteX0" fmla="*/ 64001 w 2807201"/>
              <a:gd name="connsiteY0" fmla="*/ 0 h 2925673"/>
              <a:gd name="connsiteX1" fmla="*/ 2807201 w 2807201"/>
              <a:gd name="connsiteY1" fmla="*/ 0 h 2925673"/>
              <a:gd name="connsiteX2" fmla="*/ 2807201 w 2807201"/>
              <a:gd name="connsiteY2" fmla="*/ 2743200 h 2925673"/>
              <a:gd name="connsiteX3" fmla="*/ 268062 w 2807201"/>
              <a:gd name="connsiteY3" fmla="*/ 2657960 h 2925673"/>
              <a:gd name="connsiteX4" fmla="*/ 52377 w 2807201"/>
              <a:gd name="connsiteY4" fmla="*/ 2568844 h 2925673"/>
              <a:gd name="connsiteX5" fmla="*/ 64001 w 2807201"/>
              <a:gd name="connsiteY5" fmla="*/ 0 h 2925673"/>
              <a:gd name="connsiteX0" fmla="*/ 93513 w 2836713"/>
              <a:gd name="connsiteY0" fmla="*/ 0 h 2946704"/>
              <a:gd name="connsiteX1" fmla="*/ 2836713 w 2836713"/>
              <a:gd name="connsiteY1" fmla="*/ 0 h 2946704"/>
              <a:gd name="connsiteX2" fmla="*/ 2836713 w 2836713"/>
              <a:gd name="connsiteY2" fmla="*/ 2743200 h 2946704"/>
              <a:gd name="connsiteX3" fmla="*/ 251079 w 2836713"/>
              <a:gd name="connsiteY3" fmla="*/ 2743201 h 2946704"/>
              <a:gd name="connsiteX4" fmla="*/ 81889 w 2836713"/>
              <a:gd name="connsiteY4" fmla="*/ 2568844 h 2946704"/>
              <a:gd name="connsiteX5" fmla="*/ 93513 w 2836713"/>
              <a:gd name="connsiteY5" fmla="*/ 0 h 2946704"/>
              <a:gd name="connsiteX0" fmla="*/ 21496 w 2764696"/>
              <a:gd name="connsiteY0" fmla="*/ 0 h 2946704"/>
              <a:gd name="connsiteX1" fmla="*/ 2764696 w 2764696"/>
              <a:gd name="connsiteY1" fmla="*/ 0 h 2946704"/>
              <a:gd name="connsiteX2" fmla="*/ 2764696 w 2764696"/>
              <a:gd name="connsiteY2" fmla="*/ 2743200 h 2946704"/>
              <a:gd name="connsiteX3" fmla="*/ 179062 w 2764696"/>
              <a:gd name="connsiteY3" fmla="*/ 2743201 h 2946704"/>
              <a:gd name="connsiteX4" fmla="*/ 9872 w 2764696"/>
              <a:gd name="connsiteY4" fmla="*/ 2568844 h 2946704"/>
              <a:gd name="connsiteX5" fmla="*/ 21496 w 2764696"/>
              <a:gd name="connsiteY5" fmla="*/ 0 h 2946704"/>
              <a:gd name="connsiteX0" fmla="*/ 11927 w 2755127"/>
              <a:gd name="connsiteY0" fmla="*/ 0 h 2946704"/>
              <a:gd name="connsiteX1" fmla="*/ 2755127 w 2755127"/>
              <a:gd name="connsiteY1" fmla="*/ 0 h 2946704"/>
              <a:gd name="connsiteX2" fmla="*/ 2755127 w 2755127"/>
              <a:gd name="connsiteY2" fmla="*/ 2743200 h 2946704"/>
              <a:gd name="connsiteX3" fmla="*/ 169493 w 2755127"/>
              <a:gd name="connsiteY3" fmla="*/ 2743201 h 2946704"/>
              <a:gd name="connsiteX4" fmla="*/ 303 w 2755127"/>
              <a:gd name="connsiteY4" fmla="*/ 2568844 h 2946704"/>
              <a:gd name="connsiteX5" fmla="*/ 11927 w 2755127"/>
              <a:gd name="connsiteY5" fmla="*/ 0 h 2946704"/>
              <a:gd name="connsiteX0" fmla="*/ 5611 w 2748811"/>
              <a:gd name="connsiteY0" fmla="*/ 0 h 2946704"/>
              <a:gd name="connsiteX1" fmla="*/ 2748811 w 2748811"/>
              <a:gd name="connsiteY1" fmla="*/ 0 h 2946704"/>
              <a:gd name="connsiteX2" fmla="*/ 2748811 w 2748811"/>
              <a:gd name="connsiteY2" fmla="*/ 2743200 h 2946704"/>
              <a:gd name="connsiteX3" fmla="*/ 163177 w 2748811"/>
              <a:gd name="connsiteY3" fmla="*/ 2743201 h 2946704"/>
              <a:gd name="connsiteX4" fmla="*/ 337 w 2748811"/>
              <a:gd name="connsiteY4" fmla="*/ 2527569 h 2946704"/>
              <a:gd name="connsiteX5" fmla="*/ 5611 w 2748811"/>
              <a:gd name="connsiteY5" fmla="*/ 0 h 2946704"/>
              <a:gd name="connsiteX0" fmla="*/ 18815 w 2762015"/>
              <a:gd name="connsiteY0" fmla="*/ 0 h 2947578"/>
              <a:gd name="connsiteX1" fmla="*/ 2762015 w 2762015"/>
              <a:gd name="connsiteY1" fmla="*/ 0 h 2947578"/>
              <a:gd name="connsiteX2" fmla="*/ 2762015 w 2762015"/>
              <a:gd name="connsiteY2" fmla="*/ 2743200 h 2947578"/>
              <a:gd name="connsiteX3" fmla="*/ 208131 w 2762015"/>
              <a:gd name="connsiteY3" fmla="*/ 2746376 h 2947578"/>
              <a:gd name="connsiteX4" fmla="*/ 13541 w 2762015"/>
              <a:gd name="connsiteY4" fmla="*/ 2527569 h 2947578"/>
              <a:gd name="connsiteX5" fmla="*/ 18815 w 2762015"/>
              <a:gd name="connsiteY5" fmla="*/ 0 h 2947578"/>
              <a:gd name="connsiteX0" fmla="*/ 5275 w 2748475"/>
              <a:gd name="connsiteY0" fmla="*/ 0 h 2947578"/>
              <a:gd name="connsiteX1" fmla="*/ 2748475 w 2748475"/>
              <a:gd name="connsiteY1" fmla="*/ 0 h 2947578"/>
              <a:gd name="connsiteX2" fmla="*/ 2748475 w 2748475"/>
              <a:gd name="connsiteY2" fmla="*/ 2743200 h 2947578"/>
              <a:gd name="connsiteX3" fmla="*/ 194591 w 2748475"/>
              <a:gd name="connsiteY3" fmla="*/ 2746376 h 2947578"/>
              <a:gd name="connsiteX4" fmla="*/ 1 w 2748475"/>
              <a:gd name="connsiteY4" fmla="*/ 2527569 h 2947578"/>
              <a:gd name="connsiteX5" fmla="*/ 5275 w 2748475"/>
              <a:gd name="connsiteY5" fmla="*/ 0 h 2947578"/>
              <a:gd name="connsiteX0" fmla="*/ 5376 w 2748576"/>
              <a:gd name="connsiteY0" fmla="*/ 0 h 2947578"/>
              <a:gd name="connsiteX1" fmla="*/ 2748576 w 2748576"/>
              <a:gd name="connsiteY1" fmla="*/ 0 h 2947578"/>
              <a:gd name="connsiteX2" fmla="*/ 2748576 w 2748576"/>
              <a:gd name="connsiteY2" fmla="*/ 2743200 h 2947578"/>
              <a:gd name="connsiteX3" fmla="*/ 194692 w 2748576"/>
              <a:gd name="connsiteY3" fmla="*/ 2746376 h 2947578"/>
              <a:gd name="connsiteX4" fmla="*/ 102 w 2748576"/>
              <a:gd name="connsiteY4" fmla="*/ 2527569 h 2947578"/>
              <a:gd name="connsiteX5" fmla="*/ 5376 w 2748576"/>
              <a:gd name="connsiteY5" fmla="*/ 0 h 2947578"/>
              <a:gd name="connsiteX0" fmla="*/ 5376 w 2748576"/>
              <a:gd name="connsiteY0" fmla="*/ 0 h 2940311"/>
              <a:gd name="connsiteX1" fmla="*/ 2748576 w 2748576"/>
              <a:gd name="connsiteY1" fmla="*/ 0 h 2940311"/>
              <a:gd name="connsiteX2" fmla="*/ 2748576 w 2748576"/>
              <a:gd name="connsiteY2" fmla="*/ 2743200 h 2940311"/>
              <a:gd name="connsiteX3" fmla="*/ 194692 w 2748576"/>
              <a:gd name="connsiteY3" fmla="*/ 2746376 h 2940311"/>
              <a:gd name="connsiteX4" fmla="*/ 102 w 2748576"/>
              <a:gd name="connsiteY4" fmla="*/ 2527569 h 2940311"/>
              <a:gd name="connsiteX5" fmla="*/ 5376 w 2748576"/>
              <a:gd name="connsiteY5" fmla="*/ 0 h 2940311"/>
              <a:gd name="connsiteX0" fmla="*/ 5376 w 2748576"/>
              <a:gd name="connsiteY0" fmla="*/ 0 h 2746376"/>
              <a:gd name="connsiteX1" fmla="*/ 2748576 w 2748576"/>
              <a:gd name="connsiteY1" fmla="*/ 0 h 2746376"/>
              <a:gd name="connsiteX2" fmla="*/ 2748576 w 2748576"/>
              <a:gd name="connsiteY2" fmla="*/ 2743200 h 2746376"/>
              <a:gd name="connsiteX3" fmla="*/ 194692 w 2748576"/>
              <a:gd name="connsiteY3" fmla="*/ 2746376 h 2746376"/>
              <a:gd name="connsiteX4" fmla="*/ 102 w 2748576"/>
              <a:gd name="connsiteY4" fmla="*/ 2527569 h 2746376"/>
              <a:gd name="connsiteX5" fmla="*/ 5376 w 2748576"/>
              <a:gd name="connsiteY5" fmla="*/ 0 h 274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8576" h="2746376">
                <a:moveTo>
                  <a:pt x="5376" y="0"/>
                </a:moveTo>
                <a:lnTo>
                  <a:pt x="2748576" y="0"/>
                </a:lnTo>
                <a:lnTo>
                  <a:pt x="2748576" y="2743200"/>
                </a:lnTo>
                <a:cubicBezTo>
                  <a:pt x="2430894" y="2748532"/>
                  <a:pt x="476029" y="2743685"/>
                  <a:pt x="194692" y="2746376"/>
                </a:cubicBezTo>
                <a:cubicBezTo>
                  <a:pt x="76518" y="2740565"/>
                  <a:pt x="-3270" y="2636048"/>
                  <a:pt x="102" y="2527569"/>
                </a:cubicBezTo>
                <a:cubicBezTo>
                  <a:pt x="3474" y="2419090"/>
                  <a:pt x="1501" y="519194"/>
                  <a:pt x="5376" y="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8976360" y="457200"/>
            <a:ext cx="2743200" cy="2514599"/>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6092698" y="457200"/>
            <a:ext cx="2749295" cy="3063240"/>
          </a:xfrm>
          <a:custGeom>
            <a:avLst/>
            <a:gdLst>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365516 w 2743200"/>
              <a:gd name="connsiteY4" fmla="*/ 3063240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821480"/>
              <a:gd name="connsiteY0" fmla="*/ 0 h 3063240"/>
              <a:gd name="connsiteX1" fmla="*/ 2743200 w 2821480"/>
              <a:gd name="connsiteY1" fmla="*/ 0 h 3063240"/>
              <a:gd name="connsiteX2" fmla="*/ 2743200 w 2821480"/>
              <a:gd name="connsiteY2" fmla="*/ 0 h 3063240"/>
              <a:gd name="connsiteX3" fmla="*/ 2743200 w 2821480"/>
              <a:gd name="connsiteY3" fmla="*/ 2685556 h 3063240"/>
              <a:gd name="connsiteX4" fmla="*/ 2723325 w 2821480"/>
              <a:gd name="connsiteY4" fmla="*/ 3053301 h 3063240"/>
              <a:gd name="connsiteX5" fmla="*/ 0 w 2821480"/>
              <a:gd name="connsiteY5" fmla="*/ 3063240 h 3063240"/>
              <a:gd name="connsiteX6" fmla="*/ 0 w 2821480"/>
              <a:gd name="connsiteY6" fmla="*/ 3063240 h 3063240"/>
              <a:gd name="connsiteX7" fmla="*/ 0 w 2821480"/>
              <a:gd name="connsiteY7" fmla="*/ 377684 h 3063240"/>
              <a:gd name="connsiteX8" fmla="*/ 377684 w 2821480"/>
              <a:gd name="connsiteY8" fmla="*/ 0 h 3063240"/>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723325 w 2743200"/>
              <a:gd name="connsiteY4" fmla="*/ 3053301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745994"/>
              <a:gd name="connsiteY0" fmla="*/ 0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77684 w 2745994"/>
              <a:gd name="connsiteY8" fmla="*/ 0 h 3063240"/>
              <a:gd name="connsiteX0" fmla="*/ 318264 w 2745994"/>
              <a:gd name="connsiteY0" fmla="*/ 3301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18264 w 2745994"/>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31469 h 3063240"/>
              <a:gd name="connsiteX8" fmla="*/ 321565 w 2749295"/>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14963 h 3063240"/>
              <a:gd name="connsiteX8" fmla="*/ 321565 w 2749295"/>
              <a:gd name="connsiteY8" fmla="*/ 3301 h 306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9295" h="3063240">
                <a:moveTo>
                  <a:pt x="321565" y="3301"/>
                </a:moveTo>
                <a:lnTo>
                  <a:pt x="2746501" y="0"/>
                </a:lnTo>
                <a:lnTo>
                  <a:pt x="2746501" y="0"/>
                </a:lnTo>
                <a:lnTo>
                  <a:pt x="2746501" y="2685556"/>
                </a:lnTo>
                <a:cubicBezTo>
                  <a:pt x="2746501" y="2894145"/>
                  <a:pt x="2753110" y="3061050"/>
                  <a:pt x="2745999" y="3057175"/>
                </a:cubicBezTo>
                <a:cubicBezTo>
                  <a:pt x="2738888" y="3053300"/>
                  <a:pt x="911076" y="3059927"/>
                  <a:pt x="3301" y="3063240"/>
                </a:cubicBezTo>
                <a:lnTo>
                  <a:pt x="3301" y="3063240"/>
                </a:lnTo>
                <a:cubicBezTo>
                  <a:pt x="2201" y="2152650"/>
                  <a:pt x="1100" y="1225553"/>
                  <a:pt x="0" y="314963"/>
                </a:cubicBezTo>
                <a:cubicBezTo>
                  <a:pt x="0" y="106374"/>
                  <a:pt x="112976" y="3301"/>
                  <a:pt x="321565" y="3301"/>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4" name="Picture Placeholder 4">
            <a:extLst>
              <a:ext uri="{FF2B5EF4-FFF2-40B4-BE49-F238E27FC236}">
                <a16:creationId xmlns:a16="http://schemas.microsoft.com/office/drawing/2014/main" id="{65CB4C76-4971-1948-BAE9-D05A032525DA}"/>
              </a:ext>
            </a:extLst>
          </p:cNvPr>
          <p:cNvSpPr>
            <a:spLocks noGrp="1"/>
          </p:cNvSpPr>
          <p:nvPr>
            <p:ph type="pic" sz="quarter" idx="23"/>
          </p:nvPr>
        </p:nvSpPr>
        <p:spPr>
          <a:xfrm>
            <a:off x="8975814" y="3108960"/>
            <a:ext cx="2743746" cy="3291840"/>
          </a:xfrm>
          <a:custGeom>
            <a:avLst/>
            <a:gdLst>
              <a:gd name="connsiteX0" fmla="*/ 232349 w 2743200"/>
              <a:gd name="connsiteY0" fmla="*/ 0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232349 w 2743200"/>
              <a:gd name="connsiteY8" fmla="*/ 0 h 3291840"/>
              <a:gd name="connsiteX0" fmla="*/ 59043 w 2794746"/>
              <a:gd name="connsiteY0" fmla="*/ 3747 h 3291840"/>
              <a:gd name="connsiteX1" fmla="*/ 2794746 w 2794746"/>
              <a:gd name="connsiteY1" fmla="*/ 0 h 3291840"/>
              <a:gd name="connsiteX2" fmla="*/ 2794746 w 2794746"/>
              <a:gd name="connsiteY2" fmla="*/ 0 h 3291840"/>
              <a:gd name="connsiteX3" fmla="*/ 2794746 w 2794746"/>
              <a:gd name="connsiteY3" fmla="*/ 3059491 h 3291840"/>
              <a:gd name="connsiteX4" fmla="*/ 2562397 w 2794746"/>
              <a:gd name="connsiteY4" fmla="*/ 3291840 h 3291840"/>
              <a:gd name="connsiteX5" fmla="*/ 51546 w 2794746"/>
              <a:gd name="connsiteY5" fmla="*/ 3291840 h 3291840"/>
              <a:gd name="connsiteX6" fmla="*/ 51546 w 2794746"/>
              <a:gd name="connsiteY6" fmla="*/ 3291840 h 3291840"/>
              <a:gd name="connsiteX7" fmla="*/ 51546 w 2794746"/>
              <a:gd name="connsiteY7" fmla="*/ 232349 h 3291840"/>
              <a:gd name="connsiteX8" fmla="*/ 59043 w 2794746"/>
              <a:gd name="connsiteY8" fmla="*/ 3747 h 3291840"/>
              <a:gd name="connsiteX0" fmla="*/ 7497 w 2743200"/>
              <a:gd name="connsiteY0" fmla="*/ 3747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7497 w 2743200"/>
              <a:gd name="connsiteY8" fmla="*/ 3747 h 3291840"/>
              <a:gd name="connsiteX0" fmla="*/ 68 w 2750761"/>
              <a:gd name="connsiteY0" fmla="*/ 7495 h 3291840"/>
              <a:gd name="connsiteX1" fmla="*/ 2750761 w 2750761"/>
              <a:gd name="connsiteY1" fmla="*/ 0 h 3291840"/>
              <a:gd name="connsiteX2" fmla="*/ 2750761 w 2750761"/>
              <a:gd name="connsiteY2" fmla="*/ 0 h 3291840"/>
              <a:gd name="connsiteX3" fmla="*/ 2750761 w 2750761"/>
              <a:gd name="connsiteY3" fmla="*/ 3059491 h 3291840"/>
              <a:gd name="connsiteX4" fmla="*/ 2518412 w 2750761"/>
              <a:gd name="connsiteY4" fmla="*/ 3291840 h 3291840"/>
              <a:gd name="connsiteX5" fmla="*/ 7561 w 2750761"/>
              <a:gd name="connsiteY5" fmla="*/ 3291840 h 3291840"/>
              <a:gd name="connsiteX6" fmla="*/ 7561 w 2750761"/>
              <a:gd name="connsiteY6" fmla="*/ 3291840 h 3291840"/>
              <a:gd name="connsiteX7" fmla="*/ 7561 w 2750761"/>
              <a:gd name="connsiteY7" fmla="*/ 232349 h 3291840"/>
              <a:gd name="connsiteX8" fmla="*/ 68 w 2750761"/>
              <a:gd name="connsiteY8" fmla="*/ 7495 h 3291840"/>
              <a:gd name="connsiteX0" fmla="*/ 0 w 2750693"/>
              <a:gd name="connsiteY0" fmla="*/ 7495 h 3291840"/>
              <a:gd name="connsiteX1" fmla="*/ 2750693 w 2750693"/>
              <a:gd name="connsiteY1" fmla="*/ 0 h 3291840"/>
              <a:gd name="connsiteX2" fmla="*/ 2750693 w 2750693"/>
              <a:gd name="connsiteY2" fmla="*/ 0 h 3291840"/>
              <a:gd name="connsiteX3" fmla="*/ 2750693 w 2750693"/>
              <a:gd name="connsiteY3" fmla="*/ 3059491 h 3291840"/>
              <a:gd name="connsiteX4" fmla="*/ 2518344 w 2750693"/>
              <a:gd name="connsiteY4" fmla="*/ 3291840 h 3291840"/>
              <a:gd name="connsiteX5" fmla="*/ 7493 w 2750693"/>
              <a:gd name="connsiteY5" fmla="*/ 3291840 h 3291840"/>
              <a:gd name="connsiteX6" fmla="*/ 7493 w 2750693"/>
              <a:gd name="connsiteY6" fmla="*/ 3291840 h 3291840"/>
              <a:gd name="connsiteX7" fmla="*/ 0 w 2750693"/>
              <a:gd name="connsiteY7" fmla="*/ 7495 h 3291840"/>
              <a:gd name="connsiteX0" fmla="*/ 2578 w 2743746"/>
              <a:gd name="connsiteY0" fmla="*/ 4320 h 3291840"/>
              <a:gd name="connsiteX1" fmla="*/ 2743746 w 2743746"/>
              <a:gd name="connsiteY1" fmla="*/ 0 h 3291840"/>
              <a:gd name="connsiteX2" fmla="*/ 2743746 w 2743746"/>
              <a:gd name="connsiteY2" fmla="*/ 0 h 3291840"/>
              <a:gd name="connsiteX3" fmla="*/ 2743746 w 2743746"/>
              <a:gd name="connsiteY3" fmla="*/ 3059491 h 3291840"/>
              <a:gd name="connsiteX4" fmla="*/ 2511397 w 2743746"/>
              <a:gd name="connsiteY4" fmla="*/ 3291840 h 3291840"/>
              <a:gd name="connsiteX5" fmla="*/ 546 w 2743746"/>
              <a:gd name="connsiteY5" fmla="*/ 3291840 h 3291840"/>
              <a:gd name="connsiteX6" fmla="*/ 546 w 2743746"/>
              <a:gd name="connsiteY6" fmla="*/ 3291840 h 3291840"/>
              <a:gd name="connsiteX7" fmla="*/ 2578 w 2743746"/>
              <a:gd name="connsiteY7" fmla="*/ 432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746" h="3291840">
                <a:moveTo>
                  <a:pt x="2578" y="4320"/>
                </a:moveTo>
                <a:lnTo>
                  <a:pt x="2743746" y="0"/>
                </a:lnTo>
                <a:lnTo>
                  <a:pt x="2743746" y="0"/>
                </a:lnTo>
                <a:lnTo>
                  <a:pt x="2743746" y="3059491"/>
                </a:lnTo>
                <a:cubicBezTo>
                  <a:pt x="2743746" y="3187814"/>
                  <a:pt x="2639720" y="3291840"/>
                  <a:pt x="2511397" y="3291840"/>
                </a:cubicBezTo>
                <a:lnTo>
                  <a:pt x="546" y="3291840"/>
                </a:lnTo>
                <a:lnTo>
                  <a:pt x="546" y="3291840"/>
                </a:lnTo>
                <a:cubicBezTo>
                  <a:pt x="-1952" y="2197058"/>
                  <a:pt x="5076" y="1099102"/>
                  <a:pt x="2578" y="432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a:t>Click icon to add picture</a:t>
            </a:r>
            <a:endParaRPr lang="en-US" dirty="0"/>
          </a:p>
        </p:txBody>
      </p:sp>
      <p:sp>
        <p:nvSpPr>
          <p:cNvPr id="10" name="Content Placeholder 5">
            <a:extLst>
              <a:ext uri="{FF2B5EF4-FFF2-40B4-BE49-F238E27FC236}">
                <a16:creationId xmlns:a16="http://schemas.microsoft.com/office/drawing/2014/main" id="{DF44E331-A46F-418D-9D7E-A5E1C5DD2362}"/>
              </a:ext>
            </a:extLst>
          </p:cNvPr>
          <p:cNvSpPr>
            <a:spLocks noGrp="1"/>
          </p:cNvSpPr>
          <p:nvPr>
            <p:ph sz="quarter" idx="11"/>
          </p:nvPr>
        </p:nvSpPr>
        <p:spPr>
          <a:xfrm>
            <a:off x="473075" y="1289010"/>
            <a:ext cx="5165725" cy="5111790"/>
          </a:xfrm>
          <a:prstGeom prst="rect">
            <a:avLst/>
          </a:prstGeom>
        </p:spPr>
        <p:txBody>
          <a:bodyPr anchor="ctr" anchorCtr="0"/>
          <a:lstStyle>
            <a:lvl1pPr marL="285750" indent="-285750">
              <a:buClr>
                <a:schemeClr val="tx1"/>
              </a:buClr>
              <a:buFontTx/>
              <a:buBlip>
                <a:blip r:embed="rId3"/>
              </a:buBlip>
              <a:defRPr sz="2000">
                <a:solidFill>
                  <a:schemeClr val="tx1"/>
                </a:solidFill>
              </a:defRPr>
            </a:lvl1pPr>
            <a:lvl2pPr>
              <a:buClr>
                <a:schemeClr val="tx1"/>
              </a:buClr>
              <a:defRPr sz="1600">
                <a:solidFill>
                  <a:schemeClr val="tx1"/>
                </a:solidFill>
              </a:defRPr>
            </a:lvl2pPr>
            <a:lvl3pPr>
              <a:buClr>
                <a:schemeClr val="tx1"/>
              </a:buClr>
              <a:defRPr sz="1600">
                <a:solidFill>
                  <a:schemeClr val="tx1"/>
                </a:solidFill>
              </a:defRPr>
            </a:lvl3pPr>
            <a:lvl4pPr>
              <a:buClr>
                <a:schemeClr val="tx1"/>
              </a:buClr>
              <a:defRPr sz="1600">
                <a:solidFill>
                  <a:schemeClr val="tx1"/>
                </a:solidFill>
              </a:defRPr>
            </a:lvl4pPr>
            <a:lvl5pPr>
              <a:buClr>
                <a:schemeClr val="tx1"/>
              </a:buCl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C674C62-10A3-0F47-ADDB-FD34F1BBDD11}"/>
              </a:ext>
            </a:extLst>
          </p:cNvPr>
          <p:cNvSpPr>
            <a:spLocks noGrp="1"/>
          </p:cNvSpPr>
          <p:nvPr>
            <p:ph type="title"/>
          </p:nvPr>
        </p:nvSpPr>
        <p:spPr>
          <a:xfrm>
            <a:off x="473075" y="465927"/>
            <a:ext cx="5165725" cy="640080"/>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979A9B-1009-BE4D-B89C-EBFA57F7ECBA}"/>
              </a:ext>
            </a:extLst>
          </p:cNvPr>
          <p:cNvSpPr>
            <a:spLocks noGrp="1"/>
          </p:cNvSpPr>
          <p:nvPr>
            <p:ph type="sldNum" sz="quarter" idx="2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Tree>
    <p:custDataLst>
      <p:tags r:id="rId1"/>
    </p:custDataLst>
    <p:extLst>
      <p:ext uri="{BB962C8B-B14F-4D97-AF65-F5344CB8AC3E}">
        <p14:creationId xmlns:p14="http://schemas.microsoft.com/office/powerpoint/2010/main" val="27164529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5">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65437C5E-E688-406B-9B99-43A0D27B5D9D}"/>
              </a:ext>
            </a:extLst>
          </p:cNvPr>
          <p:cNvSpPr/>
          <p:nvPr/>
        </p:nvSpPr>
        <p:spPr>
          <a:xfrm>
            <a:off x="1524" y="1714"/>
            <a:ext cx="12186412" cy="6856286"/>
          </a:xfrm>
          <a:custGeom>
            <a:avLst/>
            <a:gdLst>
              <a:gd name="connsiteX0" fmla="*/ 12186412 w 12186412"/>
              <a:gd name="connsiteY0" fmla="*/ 2539 h 6856286"/>
              <a:gd name="connsiteX1" fmla="*/ 12186412 w 12186412"/>
              <a:gd name="connsiteY1" fmla="*/ 6856286 h 6856286"/>
              <a:gd name="connsiteX2" fmla="*/ 0 w 12186412"/>
              <a:gd name="connsiteY2" fmla="*/ 6856286 h 6856286"/>
              <a:gd name="connsiteX3" fmla="*/ 0 w 12186412"/>
              <a:gd name="connsiteY3" fmla="*/ 0 h 6856286"/>
              <a:gd name="connsiteX4" fmla="*/ 406298 w 12186412"/>
              <a:gd name="connsiteY4" fmla="*/ 393602 h 6856286"/>
              <a:gd name="connsiteX5" fmla="*/ 812597 w 12186412"/>
              <a:gd name="connsiteY5" fmla="*/ 0 h 6856286"/>
              <a:gd name="connsiteX6" fmla="*/ 1218895 w 12186412"/>
              <a:gd name="connsiteY6" fmla="*/ 393602 h 6856286"/>
              <a:gd name="connsiteX7" fmla="*/ 1625194 w 12186412"/>
              <a:gd name="connsiteY7" fmla="*/ 0 h 6856286"/>
              <a:gd name="connsiteX8" fmla="*/ 2031492 w 12186412"/>
              <a:gd name="connsiteY8" fmla="*/ 393602 h 6856286"/>
              <a:gd name="connsiteX9" fmla="*/ 2437791 w 12186412"/>
              <a:gd name="connsiteY9" fmla="*/ 0 h 6856286"/>
              <a:gd name="connsiteX10" fmla="*/ 2844089 w 12186412"/>
              <a:gd name="connsiteY10" fmla="*/ 393602 h 6856286"/>
              <a:gd name="connsiteX11" fmla="*/ 3250387 w 12186412"/>
              <a:gd name="connsiteY11" fmla="*/ 0 h 6856286"/>
              <a:gd name="connsiteX12" fmla="*/ 3656686 w 12186412"/>
              <a:gd name="connsiteY12" fmla="*/ 393602 h 6856286"/>
              <a:gd name="connsiteX13" fmla="*/ 4062984 w 12186412"/>
              <a:gd name="connsiteY13" fmla="*/ 0 h 6856286"/>
              <a:gd name="connsiteX14" fmla="*/ 4469283 w 12186412"/>
              <a:gd name="connsiteY14" fmla="*/ 393602 h 6856286"/>
              <a:gd name="connsiteX15" fmla="*/ 4875581 w 12186412"/>
              <a:gd name="connsiteY15" fmla="*/ 0 h 6856286"/>
              <a:gd name="connsiteX16" fmla="*/ 5281879 w 12186412"/>
              <a:gd name="connsiteY16" fmla="*/ 393602 h 6856286"/>
              <a:gd name="connsiteX17" fmla="*/ 5688178 w 12186412"/>
              <a:gd name="connsiteY17" fmla="*/ 0 h 6856286"/>
              <a:gd name="connsiteX18" fmla="*/ 6094476 w 12186412"/>
              <a:gd name="connsiteY18" fmla="*/ 393602 h 6856286"/>
              <a:gd name="connsiteX19" fmla="*/ 6500775 w 12186412"/>
              <a:gd name="connsiteY19" fmla="*/ 0 h 6856286"/>
              <a:gd name="connsiteX20" fmla="*/ 6907073 w 12186412"/>
              <a:gd name="connsiteY20" fmla="*/ 393602 h 6856286"/>
              <a:gd name="connsiteX21" fmla="*/ 7313371 w 12186412"/>
              <a:gd name="connsiteY21" fmla="*/ 0 h 6856286"/>
              <a:gd name="connsiteX22" fmla="*/ 7719670 w 12186412"/>
              <a:gd name="connsiteY22" fmla="*/ 393602 h 6856286"/>
              <a:gd name="connsiteX23" fmla="*/ 8125968 w 12186412"/>
              <a:gd name="connsiteY23" fmla="*/ 0 h 6856286"/>
              <a:gd name="connsiteX24" fmla="*/ 8532266 w 12186412"/>
              <a:gd name="connsiteY24" fmla="*/ 393602 h 6856286"/>
              <a:gd name="connsiteX25" fmla="*/ 8938565 w 12186412"/>
              <a:gd name="connsiteY25" fmla="*/ 0 h 6856286"/>
              <a:gd name="connsiteX26" fmla="*/ 9344863 w 12186412"/>
              <a:gd name="connsiteY26" fmla="*/ 393602 h 6856286"/>
              <a:gd name="connsiteX27" fmla="*/ 9751162 w 12186412"/>
              <a:gd name="connsiteY27" fmla="*/ 0 h 6856286"/>
              <a:gd name="connsiteX28" fmla="*/ 10157460 w 12186412"/>
              <a:gd name="connsiteY28" fmla="*/ 393602 h 6856286"/>
              <a:gd name="connsiteX29" fmla="*/ 10563758 w 12186412"/>
              <a:gd name="connsiteY29" fmla="*/ 0 h 6856286"/>
              <a:gd name="connsiteX30" fmla="*/ 10970057 w 12186412"/>
              <a:gd name="connsiteY30" fmla="*/ 393602 h 6856286"/>
              <a:gd name="connsiteX31" fmla="*/ 11376355 w 12186412"/>
              <a:gd name="connsiteY31" fmla="*/ 0 h 6856286"/>
              <a:gd name="connsiteX32" fmla="*/ 11782654 w 12186412"/>
              <a:gd name="connsiteY32" fmla="*/ 393602 h 685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186412" h="6856286">
                <a:moveTo>
                  <a:pt x="12186412" y="2539"/>
                </a:moveTo>
                <a:lnTo>
                  <a:pt x="12186412" y="6856286"/>
                </a:lnTo>
                <a:lnTo>
                  <a:pt x="0" y="6856286"/>
                </a:lnTo>
                <a:lnTo>
                  <a:pt x="0" y="0"/>
                </a:lnTo>
                <a:lnTo>
                  <a:pt x="406298" y="393602"/>
                </a:lnTo>
                <a:lnTo>
                  <a:pt x="812597" y="0"/>
                </a:lnTo>
                <a:lnTo>
                  <a:pt x="1218895" y="393602"/>
                </a:lnTo>
                <a:lnTo>
                  <a:pt x="1625194" y="0"/>
                </a:lnTo>
                <a:lnTo>
                  <a:pt x="2031492" y="393602"/>
                </a:lnTo>
                <a:lnTo>
                  <a:pt x="2437791" y="0"/>
                </a:lnTo>
                <a:lnTo>
                  <a:pt x="2844089" y="393602"/>
                </a:lnTo>
                <a:lnTo>
                  <a:pt x="3250387" y="0"/>
                </a:lnTo>
                <a:lnTo>
                  <a:pt x="3656686" y="393602"/>
                </a:lnTo>
                <a:lnTo>
                  <a:pt x="4062984" y="0"/>
                </a:lnTo>
                <a:lnTo>
                  <a:pt x="4469283" y="393602"/>
                </a:lnTo>
                <a:lnTo>
                  <a:pt x="4875581" y="0"/>
                </a:lnTo>
                <a:lnTo>
                  <a:pt x="5281879" y="393602"/>
                </a:lnTo>
                <a:lnTo>
                  <a:pt x="5688178" y="0"/>
                </a:lnTo>
                <a:lnTo>
                  <a:pt x="6094476" y="393602"/>
                </a:lnTo>
                <a:lnTo>
                  <a:pt x="6500775" y="0"/>
                </a:lnTo>
                <a:lnTo>
                  <a:pt x="6907073" y="393602"/>
                </a:lnTo>
                <a:lnTo>
                  <a:pt x="7313371" y="0"/>
                </a:lnTo>
                <a:lnTo>
                  <a:pt x="7719670" y="393602"/>
                </a:lnTo>
                <a:lnTo>
                  <a:pt x="8125968" y="0"/>
                </a:lnTo>
                <a:lnTo>
                  <a:pt x="8532266" y="393602"/>
                </a:lnTo>
                <a:lnTo>
                  <a:pt x="8938565" y="0"/>
                </a:lnTo>
                <a:lnTo>
                  <a:pt x="9344863" y="393602"/>
                </a:lnTo>
                <a:lnTo>
                  <a:pt x="9751162" y="0"/>
                </a:lnTo>
                <a:lnTo>
                  <a:pt x="10157460" y="393602"/>
                </a:lnTo>
                <a:lnTo>
                  <a:pt x="10563758" y="0"/>
                </a:lnTo>
                <a:lnTo>
                  <a:pt x="10970057" y="393602"/>
                </a:lnTo>
                <a:lnTo>
                  <a:pt x="11376355" y="0"/>
                </a:lnTo>
                <a:lnTo>
                  <a:pt x="11782654" y="393602"/>
                </a:lnTo>
                <a:close/>
              </a:path>
            </a:pathLst>
          </a:custGeom>
          <a:solidFill>
            <a:schemeClr val="accent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1" name="Graphic 3">
            <a:extLst>
              <a:ext uri="{FF2B5EF4-FFF2-40B4-BE49-F238E27FC236}">
                <a16:creationId xmlns:a16="http://schemas.microsoft.com/office/drawing/2014/main" id="{042BD36D-E763-406E-80F6-9A8BF466969E}"/>
              </a:ext>
            </a:extLst>
          </p:cNvPr>
          <p:cNvSpPr>
            <a:spLocks/>
          </p:cNvSpPr>
          <p:nvPr/>
        </p:nvSpPr>
        <p:spPr>
          <a:xfrm>
            <a:off x="1524" y="6263640"/>
            <a:ext cx="12188952"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pic>
        <p:nvPicPr>
          <p:cNvPr id="5" name="Graphic 4">
            <a:extLst>
              <a:ext uri="{FF2B5EF4-FFF2-40B4-BE49-F238E27FC236}">
                <a16:creationId xmlns:a16="http://schemas.microsoft.com/office/drawing/2014/main" id="{3DED9ED8-6696-471C-AE28-12A9A0B70B7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a:off x="4937760" y="3036696"/>
            <a:ext cx="7254240" cy="3821304"/>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1371600"/>
            <a:ext cx="11521758" cy="1828800"/>
          </a:xfrm>
        </p:spPr>
        <p:txBody>
          <a:bodyPr lIns="91440" rIns="91440" anchor="t" anchorCtr="0">
            <a:noAutofit/>
          </a:bodyPr>
          <a:lstStyle>
            <a:lvl1pPr algn="l">
              <a:defRPr sz="4000">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76084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w/ Brow">
    <p:spTree>
      <p:nvGrpSpPr>
        <p:cNvPr id="1" name=""/>
        <p:cNvGrpSpPr/>
        <p:nvPr/>
      </p:nvGrpSpPr>
      <p:grpSpPr>
        <a:xfrm>
          <a:off x="0" y="0"/>
          <a:ext cx="0" cy="0"/>
          <a:chOff x="0" y="0"/>
          <a:chExt cx="0" cy="0"/>
        </a:xfrm>
      </p:grpSpPr>
      <p:grpSp>
        <p:nvGrpSpPr>
          <p:cNvPr id="7" name="brow">
            <a:extLst>
              <a:ext uri="{FF2B5EF4-FFF2-40B4-BE49-F238E27FC236}">
                <a16:creationId xmlns:a16="http://schemas.microsoft.com/office/drawing/2014/main" id="{48D18D2C-3CAC-4960-81EF-43B50030760B}"/>
              </a:ext>
            </a:extLst>
          </p:cNvPr>
          <p:cNvGrpSpPr/>
          <p:nvPr/>
        </p:nvGrpSpPr>
        <p:grpSpPr>
          <a:xfrm>
            <a:off x="10027920" y="228600"/>
            <a:ext cx="1828800" cy="914400"/>
            <a:chOff x="10027920" y="2606040"/>
            <a:chExt cx="1828800" cy="914400"/>
          </a:xfrm>
          <a:solidFill>
            <a:schemeClr val="accent1"/>
          </a:solidFill>
        </p:grpSpPr>
        <p:sp>
          <p:nvSpPr>
            <p:cNvPr id="8" name="Rectangle 7">
              <a:extLst>
                <a:ext uri="{FF2B5EF4-FFF2-40B4-BE49-F238E27FC236}">
                  <a16:creationId xmlns:a16="http://schemas.microsoft.com/office/drawing/2014/main" id="{072916CA-482F-410B-8F5F-999B8A5606B0}"/>
                </a:ext>
              </a:extLst>
            </p:cNvPr>
            <p:cNvSpPr/>
            <p:nvPr/>
          </p:nvSpPr>
          <p:spPr>
            <a:xfrm>
              <a:off x="10027920" y="2606040"/>
              <a:ext cx="1828800"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peedee"/>
                <a:ea typeface="+mn-ea"/>
                <a:cs typeface="+mn-cs"/>
              </a:endParaRPr>
            </a:p>
          </p:txBody>
        </p:sp>
        <p:sp>
          <p:nvSpPr>
            <p:cNvPr id="9" name="Rectangle 8">
              <a:extLst>
                <a:ext uri="{FF2B5EF4-FFF2-40B4-BE49-F238E27FC236}">
                  <a16:creationId xmlns:a16="http://schemas.microsoft.com/office/drawing/2014/main" id="{412DA3C7-0514-4C41-B1CC-10A18B6A7810}"/>
                </a:ext>
              </a:extLst>
            </p:cNvPr>
            <p:cNvSpPr/>
            <p:nvPr/>
          </p:nvSpPr>
          <p:spPr>
            <a:xfrm>
              <a:off x="11673840" y="2606040"/>
              <a:ext cx="182880"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peedee"/>
                <a:ea typeface="+mn-ea"/>
                <a:cs typeface="+mn-cs"/>
              </a:endParaRPr>
            </a:p>
          </p:txBody>
        </p:sp>
      </p:grpSp>
      <p:sp>
        <p:nvSpPr>
          <p:cNvPr id="5" name="Title">
            <a:extLst>
              <a:ext uri="{FF2B5EF4-FFF2-40B4-BE49-F238E27FC236}">
                <a16:creationId xmlns:a16="http://schemas.microsoft.com/office/drawing/2014/main" id="{6B5B6BBA-FD45-41F6-9564-1F7EBBB74A64}"/>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39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8CB3D4-30D8-4DBB-A3FA-4554ED58370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 r="35592" b="23725"/>
          <a:stretch/>
        </p:blipFill>
        <p:spPr>
          <a:xfrm>
            <a:off x="5379721" y="416321"/>
            <a:ext cx="6812279" cy="644168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76072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9000"/>
            <a:ext cx="5760720"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39689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2">
    <p:spTree>
      <p:nvGrpSpPr>
        <p:cNvPr id="1" name=""/>
        <p:cNvGrpSpPr/>
        <p:nvPr/>
      </p:nvGrpSpPr>
      <p:grpSpPr>
        <a:xfrm>
          <a:off x="0" y="0"/>
          <a:ext cx="0" cy="0"/>
          <a:chOff x="0" y="0"/>
          <a:chExt cx="0" cy="0"/>
        </a:xfrm>
      </p:grpSpPr>
      <p:sp>
        <p:nvSpPr>
          <p:cNvPr id="7" name="Graphic 3">
            <a:extLst>
              <a:ext uri="{FF2B5EF4-FFF2-40B4-BE49-F238E27FC236}">
                <a16:creationId xmlns:a16="http://schemas.microsoft.com/office/drawing/2014/main" id="{4D4F4101-10C5-4019-90A9-11F504117E2C}"/>
              </a:ext>
            </a:extLst>
          </p:cNvPr>
          <p:cNvSpPr>
            <a:spLocks/>
          </p:cNvSpPr>
          <p:nvPr/>
        </p:nvSpPr>
        <p:spPr>
          <a:xfrm>
            <a:off x="1524" y="6263640"/>
            <a:ext cx="12188952"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endParaRPr lang="en-US"/>
          </a:p>
        </p:txBody>
      </p:sp>
      <p:pic>
        <p:nvPicPr>
          <p:cNvPr id="8" name="Graphic 7">
            <a:extLst>
              <a:ext uri="{FF2B5EF4-FFF2-40B4-BE49-F238E27FC236}">
                <a16:creationId xmlns:a16="http://schemas.microsoft.com/office/drawing/2014/main" id="{667B3453-D9F6-43AF-B722-4CCF6B26FB3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 r="35592" b="23725"/>
          <a:stretch/>
        </p:blipFill>
        <p:spPr>
          <a:xfrm>
            <a:off x="5379721" y="416321"/>
            <a:ext cx="6812279" cy="644168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76072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8999"/>
            <a:ext cx="5760720" cy="3200399"/>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43796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95532DA-6405-471A-924F-9BD6A6B1F35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74533" b="57798"/>
          <a:stretch/>
        </p:blipFill>
        <p:spPr>
          <a:xfrm>
            <a:off x="7700220" y="914400"/>
            <a:ext cx="4491780" cy="594360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79" y="228600"/>
            <a:ext cx="7791133"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79" y="3429000"/>
            <a:ext cx="7791133"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22633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4963" y="1371600"/>
            <a:ext cx="11521757" cy="1828800"/>
          </a:xfrm>
        </p:spPr>
        <p:txBody>
          <a:bodyPr lIns="91440" rIns="91440" anchor="t" anchorCtr="0">
            <a:noAutofit/>
          </a:bodyPr>
          <a:lstStyle>
            <a:lvl1pPr algn="r">
              <a:defRPr sz="4000"/>
            </a:lvl1pPr>
          </a:lstStyle>
          <a:p>
            <a:r>
              <a:rPr lang="en-US"/>
              <a:t>Click to edit Master title style</a:t>
            </a:r>
            <a:endParaRPr lang="en-US" dirty="0"/>
          </a:p>
        </p:txBody>
      </p:sp>
      <p:pic>
        <p:nvPicPr>
          <p:cNvPr id="4" name="Graphic 3">
            <a:extLst>
              <a:ext uri="{FF2B5EF4-FFF2-40B4-BE49-F238E27FC236}">
                <a16:creationId xmlns:a16="http://schemas.microsoft.com/office/drawing/2014/main" id="{9362A543-3733-441F-8567-155CE2234F4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flipH="1">
            <a:off x="0" y="3036696"/>
            <a:ext cx="7254240" cy="3821304"/>
          </a:xfrm>
          <a:prstGeom prst="rect">
            <a:avLst/>
          </a:prstGeom>
        </p:spPr>
      </p:pic>
    </p:spTree>
    <p:custDataLst>
      <p:tags r:id="rId1"/>
    </p:custDataLst>
    <p:extLst>
      <p:ext uri="{BB962C8B-B14F-4D97-AF65-F5344CB8AC3E}">
        <p14:creationId xmlns:p14="http://schemas.microsoft.com/office/powerpoint/2010/main" val="1948858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vid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1371600"/>
            <a:ext cx="11521440" cy="1828800"/>
          </a:xfrm>
        </p:spPr>
        <p:txBody>
          <a:bodyPr lIns="91440" rIns="91440" anchor="t" anchorCtr="0">
            <a:noAutofit/>
          </a:bodyPr>
          <a:lstStyle>
            <a:lvl1pPr algn="l">
              <a:defRPr sz="4000"/>
            </a:lvl1pPr>
          </a:lstStyle>
          <a:p>
            <a:r>
              <a:rPr lang="en-US"/>
              <a:t>Click to edit Master title style</a:t>
            </a:r>
            <a:endParaRPr lang="en-US" dirty="0"/>
          </a:p>
        </p:txBody>
      </p:sp>
      <p:pic>
        <p:nvPicPr>
          <p:cNvPr id="5" name="Graphic 4">
            <a:extLst>
              <a:ext uri="{FF2B5EF4-FFF2-40B4-BE49-F238E27FC236}">
                <a16:creationId xmlns:a16="http://schemas.microsoft.com/office/drawing/2014/main" id="{65A367CF-DC60-40EA-9DDA-9041D5B07D1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a:off x="4937760" y="3036696"/>
            <a:ext cx="7254240" cy="3821304"/>
          </a:xfrm>
          <a:prstGeom prst="rect">
            <a:avLst/>
          </a:prstGeom>
        </p:spPr>
      </p:pic>
    </p:spTree>
    <p:custDataLst>
      <p:tags r:id="rId1"/>
    </p:custDataLst>
    <p:extLst>
      <p:ext uri="{BB962C8B-B14F-4D97-AF65-F5344CB8AC3E}">
        <p14:creationId xmlns:p14="http://schemas.microsoft.com/office/powerpoint/2010/main" val="53438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vider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255520" y="2514600"/>
            <a:ext cx="7680960" cy="1828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93130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255520" y="2514600"/>
            <a:ext cx="7680960" cy="1828800"/>
          </a:xfrm>
        </p:spPr>
        <p:txBody>
          <a:bodyPr lIns="91440" rIns="91440" anchor="ctr" anchorCtr="0">
            <a:noAutofit/>
          </a:bodyPr>
          <a:lstStyle>
            <a:lvl1pPr algn="ctr">
              <a:defRPr sz="4000">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85810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vider 5">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65437C5E-E688-406B-9B99-43A0D27B5D9D}"/>
              </a:ext>
            </a:extLst>
          </p:cNvPr>
          <p:cNvSpPr/>
          <p:nvPr/>
        </p:nvSpPr>
        <p:spPr>
          <a:xfrm>
            <a:off x="1524" y="1714"/>
            <a:ext cx="12186412" cy="6856286"/>
          </a:xfrm>
          <a:custGeom>
            <a:avLst/>
            <a:gdLst>
              <a:gd name="connsiteX0" fmla="*/ 12186412 w 12186412"/>
              <a:gd name="connsiteY0" fmla="*/ 2539 h 6856286"/>
              <a:gd name="connsiteX1" fmla="*/ 12186412 w 12186412"/>
              <a:gd name="connsiteY1" fmla="*/ 6856286 h 6856286"/>
              <a:gd name="connsiteX2" fmla="*/ 0 w 12186412"/>
              <a:gd name="connsiteY2" fmla="*/ 6856286 h 6856286"/>
              <a:gd name="connsiteX3" fmla="*/ 0 w 12186412"/>
              <a:gd name="connsiteY3" fmla="*/ 0 h 6856286"/>
              <a:gd name="connsiteX4" fmla="*/ 406298 w 12186412"/>
              <a:gd name="connsiteY4" fmla="*/ 393602 h 6856286"/>
              <a:gd name="connsiteX5" fmla="*/ 812597 w 12186412"/>
              <a:gd name="connsiteY5" fmla="*/ 0 h 6856286"/>
              <a:gd name="connsiteX6" fmla="*/ 1218895 w 12186412"/>
              <a:gd name="connsiteY6" fmla="*/ 393602 h 6856286"/>
              <a:gd name="connsiteX7" fmla="*/ 1625194 w 12186412"/>
              <a:gd name="connsiteY7" fmla="*/ 0 h 6856286"/>
              <a:gd name="connsiteX8" fmla="*/ 2031492 w 12186412"/>
              <a:gd name="connsiteY8" fmla="*/ 393602 h 6856286"/>
              <a:gd name="connsiteX9" fmla="*/ 2437791 w 12186412"/>
              <a:gd name="connsiteY9" fmla="*/ 0 h 6856286"/>
              <a:gd name="connsiteX10" fmla="*/ 2844089 w 12186412"/>
              <a:gd name="connsiteY10" fmla="*/ 393602 h 6856286"/>
              <a:gd name="connsiteX11" fmla="*/ 3250387 w 12186412"/>
              <a:gd name="connsiteY11" fmla="*/ 0 h 6856286"/>
              <a:gd name="connsiteX12" fmla="*/ 3656686 w 12186412"/>
              <a:gd name="connsiteY12" fmla="*/ 393602 h 6856286"/>
              <a:gd name="connsiteX13" fmla="*/ 4062984 w 12186412"/>
              <a:gd name="connsiteY13" fmla="*/ 0 h 6856286"/>
              <a:gd name="connsiteX14" fmla="*/ 4469283 w 12186412"/>
              <a:gd name="connsiteY14" fmla="*/ 393602 h 6856286"/>
              <a:gd name="connsiteX15" fmla="*/ 4875581 w 12186412"/>
              <a:gd name="connsiteY15" fmla="*/ 0 h 6856286"/>
              <a:gd name="connsiteX16" fmla="*/ 5281879 w 12186412"/>
              <a:gd name="connsiteY16" fmla="*/ 393602 h 6856286"/>
              <a:gd name="connsiteX17" fmla="*/ 5688178 w 12186412"/>
              <a:gd name="connsiteY17" fmla="*/ 0 h 6856286"/>
              <a:gd name="connsiteX18" fmla="*/ 6094476 w 12186412"/>
              <a:gd name="connsiteY18" fmla="*/ 393602 h 6856286"/>
              <a:gd name="connsiteX19" fmla="*/ 6500775 w 12186412"/>
              <a:gd name="connsiteY19" fmla="*/ 0 h 6856286"/>
              <a:gd name="connsiteX20" fmla="*/ 6907073 w 12186412"/>
              <a:gd name="connsiteY20" fmla="*/ 393602 h 6856286"/>
              <a:gd name="connsiteX21" fmla="*/ 7313371 w 12186412"/>
              <a:gd name="connsiteY21" fmla="*/ 0 h 6856286"/>
              <a:gd name="connsiteX22" fmla="*/ 7719670 w 12186412"/>
              <a:gd name="connsiteY22" fmla="*/ 393602 h 6856286"/>
              <a:gd name="connsiteX23" fmla="*/ 8125968 w 12186412"/>
              <a:gd name="connsiteY23" fmla="*/ 0 h 6856286"/>
              <a:gd name="connsiteX24" fmla="*/ 8532266 w 12186412"/>
              <a:gd name="connsiteY24" fmla="*/ 393602 h 6856286"/>
              <a:gd name="connsiteX25" fmla="*/ 8938565 w 12186412"/>
              <a:gd name="connsiteY25" fmla="*/ 0 h 6856286"/>
              <a:gd name="connsiteX26" fmla="*/ 9344863 w 12186412"/>
              <a:gd name="connsiteY26" fmla="*/ 393602 h 6856286"/>
              <a:gd name="connsiteX27" fmla="*/ 9751162 w 12186412"/>
              <a:gd name="connsiteY27" fmla="*/ 0 h 6856286"/>
              <a:gd name="connsiteX28" fmla="*/ 10157460 w 12186412"/>
              <a:gd name="connsiteY28" fmla="*/ 393602 h 6856286"/>
              <a:gd name="connsiteX29" fmla="*/ 10563758 w 12186412"/>
              <a:gd name="connsiteY29" fmla="*/ 0 h 6856286"/>
              <a:gd name="connsiteX30" fmla="*/ 10970057 w 12186412"/>
              <a:gd name="connsiteY30" fmla="*/ 393602 h 6856286"/>
              <a:gd name="connsiteX31" fmla="*/ 11376355 w 12186412"/>
              <a:gd name="connsiteY31" fmla="*/ 0 h 6856286"/>
              <a:gd name="connsiteX32" fmla="*/ 11782654 w 12186412"/>
              <a:gd name="connsiteY32" fmla="*/ 393602 h 685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186412" h="6856286">
                <a:moveTo>
                  <a:pt x="12186412" y="2539"/>
                </a:moveTo>
                <a:lnTo>
                  <a:pt x="12186412" y="6856286"/>
                </a:lnTo>
                <a:lnTo>
                  <a:pt x="0" y="6856286"/>
                </a:lnTo>
                <a:lnTo>
                  <a:pt x="0" y="0"/>
                </a:lnTo>
                <a:lnTo>
                  <a:pt x="406298" y="393602"/>
                </a:lnTo>
                <a:lnTo>
                  <a:pt x="812597" y="0"/>
                </a:lnTo>
                <a:lnTo>
                  <a:pt x="1218895" y="393602"/>
                </a:lnTo>
                <a:lnTo>
                  <a:pt x="1625194" y="0"/>
                </a:lnTo>
                <a:lnTo>
                  <a:pt x="2031492" y="393602"/>
                </a:lnTo>
                <a:lnTo>
                  <a:pt x="2437791" y="0"/>
                </a:lnTo>
                <a:lnTo>
                  <a:pt x="2844089" y="393602"/>
                </a:lnTo>
                <a:lnTo>
                  <a:pt x="3250387" y="0"/>
                </a:lnTo>
                <a:lnTo>
                  <a:pt x="3656686" y="393602"/>
                </a:lnTo>
                <a:lnTo>
                  <a:pt x="4062984" y="0"/>
                </a:lnTo>
                <a:lnTo>
                  <a:pt x="4469283" y="393602"/>
                </a:lnTo>
                <a:lnTo>
                  <a:pt x="4875581" y="0"/>
                </a:lnTo>
                <a:lnTo>
                  <a:pt x="5281879" y="393602"/>
                </a:lnTo>
                <a:lnTo>
                  <a:pt x="5688178" y="0"/>
                </a:lnTo>
                <a:lnTo>
                  <a:pt x="6094476" y="393602"/>
                </a:lnTo>
                <a:lnTo>
                  <a:pt x="6500775" y="0"/>
                </a:lnTo>
                <a:lnTo>
                  <a:pt x="6907073" y="393602"/>
                </a:lnTo>
                <a:lnTo>
                  <a:pt x="7313371" y="0"/>
                </a:lnTo>
                <a:lnTo>
                  <a:pt x="7719670" y="393602"/>
                </a:lnTo>
                <a:lnTo>
                  <a:pt x="8125968" y="0"/>
                </a:lnTo>
                <a:lnTo>
                  <a:pt x="8532266" y="393602"/>
                </a:lnTo>
                <a:lnTo>
                  <a:pt x="8938565" y="0"/>
                </a:lnTo>
                <a:lnTo>
                  <a:pt x="9344863" y="393602"/>
                </a:lnTo>
                <a:lnTo>
                  <a:pt x="9751162" y="0"/>
                </a:lnTo>
                <a:lnTo>
                  <a:pt x="10157460" y="393602"/>
                </a:lnTo>
                <a:lnTo>
                  <a:pt x="10563758" y="0"/>
                </a:lnTo>
                <a:lnTo>
                  <a:pt x="10970057" y="393602"/>
                </a:lnTo>
                <a:lnTo>
                  <a:pt x="11376355" y="0"/>
                </a:lnTo>
                <a:lnTo>
                  <a:pt x="11782654" y="393602"/>
                </a:lnTo>
                <a:close/>
              </a:path>
            </a:pathLst>
          </a:custGeom>
          <a:solidFill>
            <a:schemeClr val="accent5"/>
          </a:solidFill>
          <a:ln w="12690" cap="flat">
            <a:noFill/>
            <a:prstDash val="solid"/>
            <a:miter/>
          </a:ln>
        </p:spPr>
        <p:txBody>
          <a:bodyPr rtlCol="0" anchor="ctr"/>
          <a:lstStyle/>
          <a:p>
            <a:endParaRPr lang="en-US"/>
          </a:p>
        </p:txBody>
      </p:sp>
      <p:sp>
        <p:nvSpPr>
          <p:cNvPr id="11" name="Graphic 3">
            <a:extLst>
              <a:ext uri="{FF2B5EF4-FFF2-40B4-BE49-F238E27FC236}">
                <a16:creationId xmlns:a16="http://schemas.microsoft.com/office/drawing/2014/main" id="{042BD36D-E763-406E-80F6-9A8BF466969E}"/>
              </a:ext>
            </a:extLst>
          </p:cNvPr>
          <p:cNvSpPr>
            <a:spLocks/>
          </p:cNvSpPr>
          <p:nvPr/>
        </p:nvSpPr>
        <p:spPr>
          <a:xfrm>
            <a:off x="1524" y="6263640"/>
            <a:ext cx="12188952"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endParaRPr lang="en-US"/>
          </a:p>
        </p:txBody>
      </p:sp>
      <p:pic>
        <p:nvPicPr>
          <p:cNvPr id="5" name="Graphic 4">
            <a:extLst>
              <a:ext uri="{FF2B5EF4-FFF2-40B4-BE49-F238E27FC236}">
                <a16:creationId xmlns:a16="http://schemas.microsoft.com/office/drawing/2014/main" id="{3DED9ED8-6696-471C-AE28-12A9A0B70B7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396" r="34344" b="58268"/>
          <a:stretch/>
        </p:blipFill>
        <p:spPr>
          <a:xfrm>
            <a:off x="4937760" y="3036696"/>
            <a:ext cx="7254240" cy="3821304"/>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1371600"/>
            <a:ext cx="11521758" cy="1828800"/>
          </a:xfrm>
        </p:spPr>
        <p:txBody>
          <a:bodyPr lIns="91440" rIns="91440" anchor="t" anchorCtr="0">
            <a:noAutofit/>
          </a:bodyPr>
          <a:lstStyle>
            <a:lvl1pPr algn="l">
              <a:defRPr sz="4000">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90137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ivider 6">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875756" y="228600"/>
            <a:ext cx="8980963"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grpSp>
        <p:nvGrpSpPr>
          <p:cNvPr id="19" name="Group 18">
            <a:extLst>
              <a:ext uri="{FF2B5EF4-FFF2-40B4-BE49-F238E27FC236}">
                <a16:creationId xmlns:a16="http://schemas.microsoft.com/office/drawing/2014/main" id="{36632972-0214-46FD-A878-4AF515D597F4}"/>
              </a:ext>
            </a:extLst>
          </p:cNvPr>
          <p:cNvGrpSpPr>
            <a:grpSpLocks noChangeAspect="1"/>
          </p:cNvGrpSpPr>
          <p:nvPr/>
        </p:nvGrpSpPr>
        <p:grpSpPr>
          <a:xfrm>
            <a:off x="335280" y="0"/>
            <a:ext cx="2286430" cy="6858000"/>
            <a:chOff x="5238750" y="409575"/>
            <a:chExt cx="1714500" cy="5142547"/>
          </a:xfrm>
        </p:grpSpPr>
        <p:sp>
          <p:nvSpPr>
            <p:cNvPr id="7" name="Freeform: Shape 6">
              <a:extLst>
                <a:ext uri="{FF2B5EF4-FFF2-40B4-BE49-F238E27FC236}">
                  <a16:creationId xmlns:a16="http://schemas.microsoft.com/office/drawing/2014/main" id="{345963C2-1EC4-4E2D-B75E-6A546BA39706}"/>
                </a:ext>
              </a:extLst>
            </p:cNvPr>
            <p:cNvSpPr/>
            <p:nvPr/>
          </p:nvSpPr>
          <p:spPr>
            <a:xfrm>
              <a:off x="5238750" y="410527"/>
              <a:ext cx="190500" cy="4507230"/>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84C0229-DA67-47A9-BA7A-97AB3FAED288}"/>
                </a:ext>
              </a:extLst>
            </p:cNvPr>
            <p:cNvSpPr/>
            <p:nvPr/>
          </p:nvSpPr>
          <p:spPr>
            <a:xfrm>
              <a:off x="5619750" y="409575"/>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F808164D-01AB-4096-8422-767E7658E3BD}"/>
                </a:ext>
              </a:extLst>
            </p:cNvPr>
            <p:cNvSpPr/>
            <p:nvPr/>
          </p:nvSpPr>
          <p:spPr>
            <a:xfrm>
              <a:off x="6000750" y="410527"/>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F8088A8-1325-4B25-BB22-E64A88DB3072}"/>
                </a:ext>
              </a:extLst>
            </p:cNvPr>
            <p:cNvSpPr/>
            <p:nvPr/>
          </p:nvSpPr>
          <p:spPr>
            <a:xfrm>
              <a:off x="6381750" y="410527"/>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C4AB042-B90E-4B77-9862-8671275DF8D8}"/>
                </a:ext>
              </a:extLst>
            </p:cNvPr>
            <p:cNvSpPr/>
            <p:nvPr/>
          </p:nvSpPr>
          <p:spPr>
            <a:xfrm>
              <a:off x="6762750" y="410527"/>
              <a:ext cx="190500" cy="4507230"/>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5C924AC-3033-4505-8283-CCF2557C0F0A}"/>
                </a:ext>
              </a:extLst>
            </p:cNvPr>
            <p:cNvSpPr/>
            <p:nvPr/>
          </p:nvSpPr>
          <p:spPr>
            <a:xfrm>
              <a:off x="5238750" y="4918710"/>
              <a:ext cx="1714500" cy="632461"/>
            </a:xfrm>
            <a:custGeom>
              <a:avLst/>
              <a:gdLst>
                <a:gd name="connsiteX0" fmla="*/ 0 w 1714500"/>
                <a:gd name="connsiteY0" fmla="*/ 0 h 632461"/>
                <a:gd name="connsiteX1" fmla="*/ 206693 w 1714500"/>
                <a:gd name="connsiteY1" fmla="*/ 0 h 632461"/>
                <a:gd name="connsiteX2" fmla="*/ 857250 w 1714500"/>
                <a:gd name="connsiteY2" fmla="*/ 485775 h 632461"/>
                <a:gd name="connsiteX3" fmla="*/ 1507808 w 1714500"/>
                <a:gd name="connsiteY3" fmla="*/ 0 h 632461"/>
                <a:gd name="connsiteX4" fmla="*/ 1714500 w 1714500"/>
                <a:gd name="connsiteY4" fmla="*/ 0 h 632461"/>
                <a:gd name="connsiteX5" fmla="*/ 1617107 w 1714500"/>
                <a:gd name="connsiteY5" fmla="*/ 583168 h 632461"/>
                <a:gd name="connsiteX6" fmla="*/ 1607596 w 1714500"/>
                <a:gd name="connsiteY6" fmla="*/ 632461 h 632461"/>
                <a:gd name="connsiteX7" fmla="*/ 106200 w 1714500"/>
                <a:gd name="connsiteY7" fmla="*/ 632461 h 632461"/>
                <a:gd name="connsiteX8" fmla="*/ 96679 w 1714500"/>
                <a:gd name="connsiteY8" fmla="*/ 583168 h 632461"/>
                <a:gd name="connsiteX9" fmla="*/ 0 w 1714500"/>
                <a:gd name="connsiteY9" fmla="*/ 0 h 63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0" h="632461">
                  <a:moveTo>
                    <a:pt x="0" y="0"/>
                  </a:moveTo>
                  <a:lnTo>
                    <a:pt x="206693" y="0"/>
                  </a:lnTo>
                  <a:cubicBezTo>
                    <a:pt x="243840" y="98108"/>
                    <a:pt x="418148" y="485775"/>
                    <a:pt x="857250" y="485775"/>
                  </a:cubicBezTo>
                  <a:cubicBezTo>
                    <a:pt x="1296353" y="485775"/>
                    <a:pt x="1470660" y="98108"/>
                    <a:pt x="1507808" y="0"/>
                  </a:cubicBezTo>
                  <a:lnTo>
                    <a:pt x="1714500" y="0"/>
                  </a:lnTo>
                  <a:cubicBezTo>
                    <a:pt x="1702594" y="79057"/>
                    <a:pt x="1668066" y="307896"/>
                    <a:pt x="1617107" y="583168"/>
                  </a:cubicBezTo>
                  <a:lnTo>
                    <a:pt x="1607596" y="632461"/>
                  </a:lnTo>
                  <a:lnTo>
                    <a:pt x="106200" y="632461"/>
                  </a:lnTo>
                  <a:lnTo>
                    <a:pt x="96679" y="583168"/>
                  </a:lnTo>
                  <a:cubicBezTo>
                    <a:pt x="45720" y="307896"/>
                    <a:pt x="11430" y="79057"/>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279132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6">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2875756" y="228600"/>
            <a:ext cx="8980963"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grpSp>
        <p:nvGrpSpPr>
          <p:cNvPr id="19" name="Group 18">
            <a:extLst>
              <a:ext uri="{FF2B5EF4-FFF2-40B4-BE49-F238E27FC236}">
                <a16:creationId xmlns:a16="http://schemas.microsoft.com/office/drawing/2014/main" id="{36632972-0214-46FD-A878-4AF515D597F4}"/>
              </a:ext>
            </a:extLst>
          </p:cNvPr>
          <p:cNvGrpSpPr>
            <a:grpSpLocks noChangeAspect="1"/>
          </p:cNvGrpSpPr>
          <p:nvPr/>
        </p:nvGrpSpPr>
        <p:grpSpPr>
          <a:xfrm>
            <a:off x="335280" y="0"/>
            <a:ext cx="2286430" cy="6858000"/>
            <a:chOff x="5238750" y="409575"/>
            <a:chExt cx="1714500" cy="5142547"/>
          </a:xfrm>
        </p:grpSpPr>
        <p:sp>
          <p:nvSpPr>
            <p:cNvPr id="7" name="Freeform: Shape 6">
              <a:extLst>
                <a:ext uri="{FF2B5EF4-FFF2-40B4-BE49-F238E27FC236}">
                  <a16:creationId xmlns:a16="http://schemas.microsoft.com/office/drawing/2014/main" id="{345963C2-1EC4-4E2D-B75E-6A546BA39706}"/>
                </a:ext>
              </a:extLst>
            </p:cNvPr>
            <p:cNvSpPr/>
            <p:nvPr/>
          </p:nvSpPr>
          <p:spPr>
            <a:xfrm>
              <a:off x="5238750" y="410527"/>
              <a:ext cx="190500" cy="4507230"/>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8" name="Freeform: Shape 7">
              <a:extLst>
                <a:ext uri="{FF2B5EF4-FFF2-40B4-BE49-F238E27FC236}">
                  <a16:creationId xmlns:a16="http://schemas.microsoft.com/office/drawing/2014/main" id="{284C0229-DA67-47A9-BA7A-97AB3FAED288}"/>
                </a:ext>
              </a:extLst>
            </p:cNvPr>
            <p:cNvSpPr/>
            <p:nvPr/>
          </p:nvSpPr>
          <p:spPr>
            <a:xfrm>
              <a:off x="5619750" y="409575"/>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9" name="Freeform: Shape 8">
              <a:extLst>
                <a:ext uri="{FF2B5EF4-FFF2-40B4-BE49-F238E27FC236}">
                  <a16:creationId xmlns:a16="http://schemas.microsoft.com/office/drawing/2014/main" id="{F808164D-01AB-4096-8422-767E7658E3BD}"/>
                </a:ext>
              </a:extLst>
            </p:cNvPr>
            <p:cNvSpPr/>
            <p:nvPr/>
          </p:nvSpPr>
          <p:spPr>
            <a:xfrm>
              <a:off x="6000750" y="410527"/>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0" name="Freeform: Shape 9">
              <a:extLst>
                <a:ext uri="{FF2B5EF4-FFF2-40B4-BE49-F238E27FC236}">
                  <a16:creationId xmlns:a16="http://schemas.microsoft.com/office/drawing/2014/main" id="{2F8088A8-1325-4B25-BB22-E64A88DB3072}"/>
                </a:ext>
              </a:extLst>
            </p:cNvPr>
            <p:cNvSpPr/>
            <p:nvPr/>
          </p:nvSpPr>
          <p:spPr>
            <a:xfrm>
              <a:off x="6381750" y="410527"/>
              <a:ext cx="190500" cy="5141595"/>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1" name="Freeform: Shape 10">
              <a:extLst>
                <a:ext uri="{FF2B5EF4-FFF2-40B4-BE49-F238E27FC236}">
                  <a16:creationId xmlns:a16="http://schemas.microsoft.com/office/drawing/2014/main" id="{DC4AB042-B90E-4B77-9862-8671275DF8D8}"/>
                </a:ext>
              </a:extLst>
            </p:cNvPr>
            <p:cNvSpPr/>
            <p:nvPr/>
          </p:nvSpPr>
          <p:spPr>
            <a:xfrm>
              <a:off x="6762750" y="410527"/>
              <a:ext cx="190500" cy="4507230"/>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peedee"/>
                <a:ea typeface="+mn-ea"/>
                <a:cs typeface="+mn-cs"/>
              </a:endParaRPr>
            </a:p>
          </p:txBody>
        </p:sp>
        <p:sp>
          <p:nvSpPr>
            <p:cNvPr id="17" name="Freeform: Shape 16">
              <a:extLst>
                <a:ext uri="{FF2B5EF4-FFF2-40B4-BE49-F238E27FC236}">
                  <a16:creationId xmlns:a16="http://schemas.microsoft.com/office/drawing/2014/main" id="{B5C924AC-3033-4505-8283-CCF2557C0F0A}"/>
                </a:ext>
              </a:extLst>
            </p:cNvPr>
            <p:cNvSpPr/>
            <p:nvPr/>
          </p:nvSpPr>
          <p:spPr>
            <a:xfrm>
              <a:off x="5238750" y="4918710"/>
              <a:ext cx="1714500" cy="632461"/>
            </a:xfrm>
            <a:custGeom>
              <a:avLst/>
              <a:gdLst>
                <a:gd name="connsiteX0" fmla="*/ 0 w 1714500"/>
                <a:gd name="connsiteY0" fmla="*/ 0 h 632461"/>
                <a:gd name="connsiteX1" fmla="*/ 206693 w 1714500"/>
                <a:gd name="connsiteY1" fmla="*/ 0 h 632461"/>
                <a:gd name="connsiteX2" fmla="*/ 857250 w 1714500"/>
                <a:gd name="connsiteY2" fmla="*/ 485775 h 632461"/>
                <a:gd name="connsiteX3" fmla="*/ 1507808 w 1714500"/>
                <a:gd name="connsiteY3" fmla="*/ 0 h 632461"/>
                <a:gd name="connsiteX4" fmla="*/ 1714500 w 1714500"/>
                <a:gd name="connsiteY4" fmla="*/ 0 h 632461"/>
                <a:gd name="connsiteX5" fmla="*/ 1617107 w 1714500"/>
                <a:gd name="connsiteY5" fmla="*/ 583168 h 632461"/>
                <a:gd name="connsiteX6" fmla="*/ 1607596 w 1714500"/>
                <a:gd name="connsiteY6" fmla="*/ 632461 h 632461"/>
                <a:gd name="connsiteX7" fmla="*/ 106200 w 1714500"/>
                <a:gd name="connsiteY7" fmla="*/ 632461 h 632461"/>
                <a:gd name="connsiteX8" fmla="*/ 96679 w 1714500"/>
                <a:gd name="connsiteY8" fmla="*/ 583168 h 632461"/>
                <a:gd name="connsiteX9" fmla="*/ 0 w 1714500"/>
                <a:gd name="connsiteY9" fmla="*/ 0 h 63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0" h="632461">
                  <a:moveTo>
                    <a:pt x="0" y="0"/>
                  </a:moveTo>
                  <a:lnTo>
                    <a:pt x="206693" y="0"/>
                  </a:lnTo>
                  <a:cubicBezTo>
                    <a:pt x="243840" y="98108"/>
                    <a:pt x="418148" y="485775"/>
                    <a:pt x="857250" y="485775"/>
                  </a:cubicBezTo>
                  <a:cubicBezTo>
                    <a:pt x="1296353" y="485775"/>
                    <a:pt x="1470660" y="98108"/>
                    <a:pt x="1507808" y="0"/>
                  </a:cubicBezTo>
                  <a:lnTo>
                    <a:pt x="1714500" y="0"/>
                  </a:lnTo>
                  <a:cubicBezTo>
                    <a:pt x="1702594" y="79057"/>
                    <a:pt x="1668066" y="307896"/>
                    <a:pt x="1617107" y="583168"/>
                  </a:cubicBezTo>
                  <a:lnTo>
                    <a:pt x="1607596" y="632461"/>
                  </a:lnTo>
                  <a:lnTo>
                    <a:pt x="106200" y="632461"/>
                  </a:lnTo>
                  <a:lnTo>
                    <a:pt x="96679" y="583168"/>
                  </a:lnTo>
                  <a:cubicBezTo>
                    <a:pt x="45720" y="307896"/>
                    <a:pt x="11430" y="79057"/>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peedee"/>
                <a:ea typeface="+mn-ea"/>
                <a:cs typeface="+mn-cs"/>
              </a:endParaRPr>
            </a:p>
          </p:txBody>
        </p:sp>
      </p:grpSp>
    </p:spTree>
    <p:custDataLst>
      <p:tags r:id="rId1"/>
    </p:custDataLst>
    <p:extLst>
      <p:ext uri="{BB962C8B-B14F-4D97-AF65-F5344CB8AC3E}">
        <p14:creationId xmlns:p14="http://schemas.microsoft.com/office/powerpoint/2010/main" val="318589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vider 7">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11521439"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grpSp>
        <p:nvGrpSpPr>
          <p:cNvPr id="14" name="Group 13">
            <a:extLst>
              <a:ext uri="{FF2B5EF4-FFF2-40B4-BE49-F238E27FC236}">
                <a16:creationId xmlns:a16="http://schemas.microsoft.com/office/drawing/2014/main" id="{E5ABB8FC-068B-454D-9279-EEDCA4E00E56}"/>
              </a:ext>
            </a:extLst>
          </p:cNvPr>
          <p:cNvGrpSpPr/>
          <p:nvPr/>
        </p:nvGrpSpPr>
        <p:grpSpPr>
          <a:xfrm>
            <a:off x="1" y="4754880"/>
            <a:ext cx="12191999" cy="1600200"/>
            <a:chOff x="1" y="4434840"/>
            <a:chExt cx="12191999" cy="1600200"/>
          </a:xfrm>
        </p:grpSpPr>
        <p:sp>
          <p:nvSpPr>
            <p:cNvPr id="15" name="Freeform: Shape 14">
              <a:extLst>
                <a:ext uri="{FF2B5EF4-FFF2-40B4-BE49-F238E27FC236}">
                  <a16:creationId xmlns:a16="http://schemas.microsoft.com/office/drawing/2014/main" id="{8C82FD6D-9BB1-4612-8DD8-CAF4D5414568}"/>
                </a:ext>
              </a:extLst>
            </p:cNvPr>
            <p:cNvSpPr/>
            <p:nvPr/>
          </p:nvSpPr>
          <p:spPr>
            <a:xfrm rot="16200000">
              <a:off x="6005973" y="-5043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12B5A68-8EF0-4C7A-BB81-09E4A111F215}"/>
                </a:ext>
              </a:extLst>
            </p:cNvPr>
            <p:cNvSpPr/>
            <p:nvPr/>
          </p:nvSpPr>
          <p:spPr>
            <a:xfrm rot="16200000">
              <a:off x="6008229" y="-8599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AB76E9FD-333B-466B-B295-21DA9ACF7BE7}"/>
                </a:ext>
              </a:extLst>
            </p:cNvPr>
            <p:cNvSpPr/>
            <p:nvPr/>
          </p:nvSpPr>
          <p:spPr>
            <a:xfrm rot="16200000">
              <a:off x="6008229" y="-1215532"/>
              <a:ext cx="177800" cy="12189743"/>
            </a:xfrm>
            <a:custGeom>
              <a:avLst/>
              <a:gdLst>
                <a:gd name="connsiteX0" fmla="*/ 0 w 190500"/>
                <a:gd name="connsiteY0" fmla="*/ 0 h 5141595"/>
                <a:gd name="connsiteX1" fmla="*/ 190500 w 190500"/>
                <a:gd name="connsiteY1" fmla="*/ 0 h 5141595"/>
                <a:gd name="connsiteX2" fmla="*/ 190500 w 190500"/>
                <a:gd name="connsiteY2" fmla="*/ 5141595 h 5141595"/>
                <a:gd name="connsiteX3" fmla="*/ 0 w 190500"/>
                <a:gd name="connsiteY3" fmla="*/ 5141595 h 5141595"/>
              </a:gdLst>
              <a:ahLst/>
              <a:cxnLst>
                <a:cxn ang="0">
                  <a:pos x="connsiteX0" y="connsiteY0"/>
                </a:cxn>
                <a:cxn ang="0">
                  <a:pos x="connsiteX1" y="connsiteY1"/>
                </a:cxn>
                <a:cxn ang="0">
                  <a:pos x="connsiteX2" y="connsiteY2"/>
                </a:cxn>
                <a:cxn ang="0">
                  <a:pos x="connsiteX3" y="connsiteY3"/>
                </a:cxn>
              </a:cxnLst>
              <a:rect l="l" t="t" r="r" b="b"/>
              <a:pathLst>
                <a:path w="190500" h="5141595">
                  <a:moveTo>
                    <a:pt x="0" y="0"/>
                  </a:moveTo>
                  <a:lnTo>
                    <a:pt x="190500" y="0"/>
                  </a:lnTo>
                  <a:lnTo>
                    <a:pt x="190500" y="5141595"/>
                  </a:lnTo>
                  <a:lnTo>
                    <a:pt x="0" y="5141595"/>
                  </a:lnTo>
                  <a:close/>
                </a:path>
              </a:pathLst>
            </a:custGeom>
            <a:solidFill>
              <a:srgbClr val="FFB80D"/>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1045688-A1C0-480A-9010-2510EC13EDC5}"/>
                </a:ext>
              </a:extLst>
            </p:cNvPr>
            <p:cNvSpPr/>
            <p:nvPr/>
          </p:nvSpPr>
          <p:spPr>
            <a:xfrm rot="16200000">
              <a:off x="5711953" y="147543"/>
              <a:ext cx="177800" cy="11597193"/>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3D596E4-0307-4E52-955E-5219321EC1D3}"/>
                </a:ext>
              </a:extLst>
            </p:cNvPr>
            <p:cNvSpPr/>
            <p:nvPr/>
          </p:nvSpPr>
          <p:spPr>
            <a:xfrm rot="16200000">
              <a:off x="5711953" y="-1274857"/>
              <a:ext cx="177800" cy="11597193"/>
            </a:xfrm>
            <a:custGeom>
              <a:avLst/>
              <a:gdLst>
                <a:gd name="connsiteX0" fmla="*/ 0 w 190500"/>
                <a:gd name="connsiteY0" fmla="*/ 0 h 4507230"/>
                <a:gd name="connsiteX1" fmla="*/ 190500 w 190500"/>
                <a:gd name="connsiteY1" fmla="*/ 0 h 4507230"/>
                <a:gd name="connsiteX2" fmla="*/ 190500 w 190500"/>
                <a:gd name="connsiteY2" fmla="*/ 4507230 h 4507230"/>
                <a:gd name="connsiteX3" fmla="*/ 0 w 190500"/>
                <a:gd name="connsiteY3" fmla="*/ 4507230 h 4507230"/>
              </a:gdLst>
              <a:ahLst/>
              <a:cxnLst>
                <a:cxn ang="0">
                  <a:pos x="connsiteX0" y="connsiteY0"/>
                </a:cxn>
                <a:cxn ang="0">
                  <a:pos x="connsiteX1" y="connsiteY1"/>
                </a:cxn>
                <a:cxn ang="0">
                  <a:pos x="connsiteX2" y="connsiteY2"/>
                </a:cxn>
                <a:cxn ang="0">
                  <a:pos x="connsiteX3" y="connsiteY3"/>
                </a:cxn>
              </a:cxnLst>
              <a:rect l="l" t="t" r="r" b="b"/>
              <a:pathLst>
                <a:path w="190500" h="4507230">
                  <a:moveTo>
                    <a:pt x="0" y="0"/>
                  </a:moveTo>
                  <a:lnTo>
                    <a:pt x="190500" y="0"/>
                  </a:lnTo>
                  <a:lnTo>
                    <a:pt x="190500" y="4507230"/>
                  </a:lnTo>
                  <a:lnTo>
                    <a:pt x="0" y="4507230"/>
                  </a:lnTo>
                  <a:close/>
                </a:path>
              </a:pathLst>
            </a:custGeom>
            <a:solidFill>
              <a:srgbClr val="FFB80D"/>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10CF1A0-CD05-48CA-9136-69F8EB2488E9}"/>
                </a:ext>
              </a:extLst>
            </p:cNvPr>
            <p:cNvSpPr/>
            <p:nvPr/>
          </p:nvSpPr>
          <p:spPr>
            <a:xfrm rot="16200000">
              <a:off x="11095865" y="4939792"/>
              <a:ext cx="1600200" cy="590295"/>
            </a:xfrm>
            <a:custGeom>
              <a:avLst/>
              <a:gdLst>
                <a:gd name="connsiteX0" fmla="*/ 0 w 1714500"/>
                <a:gd name="connsiteY0" fmla="*/ 0 h 632461"/>
                <a:gd name="connsiteX1" fmla="*/ 206693 w 1714500"/>
                <a:gd name="connsiteY1" fmla="*/ 0 h 632461"/>
                <a:gd name="connsiteX2" fmla="*/ 857250 w 1714500"/>
                <a:gd name="connsiteY2" fmla="*/ 485775 h 632461"/>
                <a:gd name="connsiteX3" fmla="*/ 1507808 w 1714500"/>
                <a:gd name="connsiteY3" fmla="*/ 0 h 632461"/>
                <a:gd name="connsiteX4" fmla="*/ 1714500 w 1714500"/>
                <a:gd name="connsiteY4" fmla="*/ 0 h 632461"/>
                <a:gd name="connsiteX5" fmla="*/ 1617107 w 1714500"/>
                <a:gd name="connsiteY5" fmla="*/ 583168 h 632461"/>
                <a:gd name="connsiteX6" fmla="*/ 1607596 w 1714500"/>
                <a:gd name="connsiteY6" fmla="*/ 632461 h 632461"/>
                <a:gd name="connsiteX7" fmla="*/ 106200 w 1714500"/>
                <a:gd name="connsiteY7" fmla="*/ 632461 h 632461"/>
                <a:gd name="connsiteX8" fmla="*/ 96679 w 1714500"/>
                <a:gd name="connsiteY8" fmla="*/ 583168 h 632461"/>
                <a:gd name="connsiteX9" fmla="*/ 0 w 1714500"/>
                <a:gd name="connsiteY9" fmla="*/ 0 h 63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0" h="632461">
                  <a:moveTo>
                    <a:pt x="0" y="0"/>
                  </a:moveTo>
                  <a:lnTo>
                    <a:pt x="206693" y="0"/>
                  </a:lnTo>
                  <a:cubicBezTo>
                    <a:pt x="243840" y="98108"/>
                    <a:pt x="418148" y="485775"/>
                    <a:pt x="857250" y="485775"/>
                  </a:cubicBezTo>
                  <a:cubicBezTo>
                    <a:pt x="1296353" y="485775"/>
                    <a:pt x="1470660" y="98108"/>
                    <a:pt x="1507808" y="0"/>
                  </a:cubicBezTo>
                  <a:lnTo>
                    <a:pt x="1714500" y="0"/>
                  </a:lnTo>
                  <a:cubicBezTo>
                    <a:pt x="1702594" y="79057"/>
                    <a:pt x="1668066" y="307896"/>
                    <a:pt x="1617107" y="583168"/>
                  </a:cubicBezTo>
                  <a:lnTo>
                    <a:pt x="1607596" y="632461"/>
                  </a:lnTo>
                  <a:lnTo>
                    <a:pt x="106200" y="632461"/>
                  </a:lnTo>
                  <a:lnTo>
                    <a:pt x="96679" y="583168"/>
                  </a:lnTo>
                  <a:cubicBezTo>
                    <a:pt x="45720" y="307896"/>
                    <a:pt x="11430" y="79057"/>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72394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2645E44C-BC01-4C20-BC03-C07046E16E25}"/>
              </a:ext>
            </a:extLst>
          </p:cNvPr>
          <p:cNvSpPr/>
          <p:nvPr/>
        </p:nvSpPr>
        <p:spPr>
          <a:xfrm flipV="1">
            <a:off x="6094196" y="228600"/>
            <a:ext cx="6097804" cy="6629400"/>
          </a:xfrm>
          <a:custGeom>
            <a:avLst/>
            <a:gdLst>
              <a:gd name="connsiteX0" fmla="*/ 2439 w 6097804"/>
              <a:gd name="connsiteY0" fmla="*/ 6629400 h 6629400"/>
              <a:gd name="connsiteX1" fmla="*/ 307303 w 6097804"/>
              <a:gd name="connsiteY1" fmla="*/ 6332812 h 6629400"/>
              <a:gd name="connsiteX2" fmla="*/ 612167 w 6097804"/>
              <a:gd name="connsiteY2" fmla="*/ 6629400 h 6629400"/>
              <a:gd name="connsiteX3" fmla="*/ 917030 w 6097804"/>
              <a:gd name="connsiteY3" fmla="*/ 6332812 h 6629400"/>
              <a:gd name="connsiteX4" fmla="*/ 1221894 w 6097804"/>
              <a:gd name="connsiteY4" fmla="*/ 6629400 h 6629400"/>
              <a:gd name="connsiteX5" fmla="*/ 1526757 w 6097804"/>
              <a:gd name="connsiteY5" fmla="*/ 6332812 h 6629400"/>
              <a:gd name="connsiteX6" fmla="*/ 1831621 w 6097804"/>
              <a:gd name="connsiteY6" fmla="*/ 6629400 h 6629400"/>
              <a:gd name="connsiteX7" fmla="*/ 2136484 w 6097804"/>
              <a:gd name="connsiteY7" fmla="*/ 6332812 h 6629400"/>
              <a:gd name="connsiteX8" fmla="*/ 2441348 w 6097804"/>
              <a:gd name="connsiteY8" fmla="*/ 6629400 h 6629400"/>
              <a:gd name="connsiteX9" fmla="*/ 2746212 w 6097804"/>
              <a:gd name="connsiteY9" fmla="*/ 6332812 h 6629400"/>
              <a:gd name="connsiteX10" fmla="*/ 3051074 w 6097804"/>
              <a:gd name="connsiteY10" fmla="*/ 6629400 h 6629400"/>
              <a:gd name="connsiteX11" fmla="*/ 3355938 w 6097804"/>
              <a:gd name="connsiteY11" fmla="*/ 6332812 h 6629400"/>
              <a:gd name="connsiteX12" fmla="*/ 3660802 w 6097804"/>
              <a:gd name="connsiteY12" fmla="*/ 6629400 h 6629400"/>
              <a:gd name="connsiteX13" fmla="*/ 3965665 w 6097804"/>
              <a:gd name="connsiteY13" fmla="*/ 6332812 h 6629400"/>
              <a:gd name="connsiteX14" fmla="*/ 4270529 w 6097804"/>
              <a:gd name="connsiteY14" fmla="*/ 6629400 h 6629400"/>
              <a:gd name="connsiteX15" fmla="*/ 4575392 w 6097804"/>
              <a:gd name="connsiteY15" fmla="*/ 6332812 h 6629400"/>
              <a:gd name="connsiteX16" fmla="*/ 4880256 w 6097804"/>
              <a:gd name="connsiteY16" fmla="*/ 6629400 h 6629400"/>
              <a:gd name="connsiteX17" fmla="*/ 5185120 w 6097804"/>
              <a:gd name="connsiteY17" fmla="*/ 6332812 h 6629400"/>
              <a:gd name="connsiteX18" fmla="*/ 5489983 w 6097804"/>
              <a:gd name="connsiteY18" fmla="*/ 6629400 h 6629400"/>
              <a:gd name="connsiteX19" fmla="*/ 5794847 w 6097804"/>
              <a:gd name="connsiteY19" fmla="*/ 6332812 h 6629400"/>
              <a:gd name="connsiteX20" fmla="*/ 6097804 w 6097804"/>
              <a:gd name="connsiteY20" fmla="*/ 6627487 h 6629400"/>
              <a:gd name="connsiteX21" fmla="*/ 6097804 w 6097804"/>
              <a:gd name="connsiteY21" fmla="*/ 1463040 h 6629400"/>
              <a:gd name="connsiteX22" fmla="*/ 6097804 w 6097804"/>
              <a:gd name="connsiteY22" fmla="*/ 0 h 6629400"/>
              <a:gd name="connsiteX23" fmla="*/ 1804 w 6097804"/>
              <a:gd name="connsiteY23" fmla="*/ 0 h 6629400"/>
              <a:gd name="connsiteX24" fmla="*/ 1804 w 6097804"/>
              <a:gd name="connsiteY24" fmla="*/ 1463040 h 6629400"/>
              <a:gd name="connsiteX25" fmla="*/ 0 w 6097804"/>
              <a:gd name="connsiteY25" fmla="*/ 1463040 h 6629400"/>
              <a:gd name="connsiteX26" fmla="*/ 0 w 6097804"/>
              <a:gd name="connsiteY26" fmla="*/ 6627027 h 66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97804" h="6629400">
                <a:moveTo>
                  <a:pt x="2439" y="6629400"/>
                </a:moveTo>
                <a:lnTo>
                  <a:pt x="307303" y="6332812"/>
                </a:lnTo>
                <a:lnTo>
                  <a:pt x="612167" y="6629400"/>
                </a:lnTo>
                <a:lnTo>
                  <a:pt x="917030" y="6332812"/>
                </a:lnTo>
                <a:lnTo>
                  <a:pt x="1221894" y="6629400"/>
                </a:lnTo>
                <a:lnTo>
                  <a:pt x="1526757" y="6332812"/>
                </a:lnTo>
                <a:lnTo>
                  <a:pt x="1831621" y="6629400"/>
                </a:lnTo>
                <a:lnTo>
                  <a:pt x="2136484" y="6332812"/>
                </a:lnTo>
                <a:lnTo>
                  <a:pt x="2441348" y="6629400"/>
                </a:lnTo>
                <a:lnTo>
                  <a:pt x="2746212" y="6332812"/>
                </a:lnTo>
                <a:lnTo>
                  <a:pt x="3051074" y="6629400"/>
                </a:lnTo>
                <a:lnTo>
                  <a:pt x="3355938" y="6332812"/>
                </a:lnTo>
                <a:lnTo>
                  <a:pt x="3660802" y="6629400"/>
                </a:lnTo>
                <a:lnTo>
                  <a:pt x="3965665" y="6332812"/>
                </a:lnTo>
                <a:lnTo>
                  <a:pt x="4270529" y="6629400"/>
                </a:lnTo>
                <a:lnTo>
                  <a:pt x="4575392" y="6332812"/>
                </a:lnTo>
                <a:lnTo>
                  <a:pt x="4880256" y="6629400"/>
                </a:lnTo>
                <a:lnTo>
                  <a:pt x="5185120" y="6332812"/>
                </a:lnTo>
                <a:lnTo>
                  <a:pt x="5489983" y="6629400"/>
                </a:lnTo>
                <a:lnTo>
                  <a:pt x="5794847" y="6332812"/>
                </a:lnTo>
                <a:lnTo>
                  <a:pt x="6097804" y="6627487"/>
                </a:lnTo>
                <a:lnTo>
                  <a:pt x="6097804" y="1463040"/>
                </a:lnTo>
                <a:lnTo>
                  <a:pt x="6097804" y="0"/>
                </a:lnTo>
                <a:lnTo>
                  <a:pt x="1804" y="0"/>
                </a:lnTo>
                <a:lnTo>
                  <a:pt x="1804" y="1463040"/>
                </a:lnTo>
                <a:lnTo>
                  <a:pt x="0" y="1463040"/>
                </a:lnTo>
                <a:lnTo>
                  <a:pt x="0" y="662702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sp>
        <p:nvSpPr>
          <p:cNvPr id="8" name="Graphic 3">
            <a:extLst>
              <a:ext uri="{FF2B5EF4-FFF2-40B4-BE49-F238E27FC236}">
                <a16:creationId xmlns:a16="http://schemas.microsoft.com/office/drawing/2014/main" id="{64E614CC-7161-451C-B27F-99D746FC8F2F}"/>
              </a:ext>
            </a:extLst>
          </p:cNvPr>
          <p:cNvSpPr>
            <a:spLocks/>
          </p:cNvSpPr>
          <p:nvPr/>
        </p:nvSpPr>
        <p:spPr>
          <a:xfrm>
            <a:off x="6092672" y="6263640"/>
            <a:ext cx="6097804" cy="59436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endParaRPr lang="en-US"/>
          </a:p>
        </p:txBody>
      </p:sp>
      <p:pic>
        <p:nvPicPr>
          <p:cNvPr id="9" name="Graphic 8">
            <a:extLst>
              <a:ext uri="{FF2B5EF4-FFF2-40B4-BE49-F238E27FC236}">
                <a16:creationId xmlns:a16="http://schemas.microsoft.com/office/drawing/2014/main" id="{B438DE18-F374-442B-82ED-D998FAF4289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4" t="1" r="34344" b="25889"/>
          <a:stretch/>
        </p:blipFill>
        <p:spPr>
          <a:xfrm>
            <a:off x="6964681" y="2148840"/>
            <a:ext cx="5227320" cy="4709160"/>
          </a:xfrm>
          <a:prstGeom prst="rect">
            <a:avLst/>
          </a:prstGeom>
        </p:spPr>
      </p:pic>
    </p:spTree>
    <p:custDataLst>
      <p:tags r:id="rId1"/>
    </p:custDataLst>
    <p:extLst>
      <p:ext uri="{BB962C8B-B14F-4D97-AF65-F5344CB8AC3E}">
        <p14:creationId xmlns:p14="http://schemas.microsoft.com/office/powerpoint/2010/main" val="47898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sp>
        <p:nvSpPr>
          <p:cNvPr id="7" name="Graphic 3">
            <a:extLst>
              <a:ext uri="{FF2B5EF4-FFF2-40B4-BE49-F238E27FC236}">
                <a16:creationId xmlns:a16="http://schemas.microsoft.com/office/drawing/2014/main" id="{0A1FDE5F-F5CC-4845-944B-48A25DC07EF0}"/>
              </a:ext>
            </a:extLst>
          </p:cNvPr>
          <p:cNvSpPr>
            <a:spLocks/>
          </p:cNvSpPr>
          <p:nvPr/>
        </p:nvSpPr>
        <p:spPr>
          <a:xfrm>
            <a:off x="0" y="5212080"/>
            <a:ext cx="12188952" cy="164592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1"/>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pic>
        <p:nvPicPr>
          <p:cNvPr id="3" name="Graphic 2">
            <a:extLst>
              <a:ext uri="{FF2B5EF4-FFF2-40B4-BE49-F238E27FC236}">
                <a16:creationId xmlns:a16="http://schemas.microsoft.com/office/drawing/2014/main" id="{B5599F8E-9667-459C-A7EF-093C0C24B0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0698" y="0"/>
            <a:ext cx="3921752" cy="6527737"/>
          </a:xfrm>
          <a:prstGeom prst="rect">
            <a:avLst/>
          </a:prstGeom>
        </p:spPr>
      </p:pic>
    </p:spTree>
    <p:custDataLst>
      <p:tags r:id="rId1"/>
    </p:custDataLst>
    <p:extLst>
      <p:ext uri="{BB962C8B-B14F-4D97-AF65-F5344CB8AC3E}">
        <p14:creationId xmlns:p14="http://schemas.microsoft.com/office/powerpoint/2010/main" val="385306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10">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E383472-5454-443F-B162-B33D709117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11521439" cy="6400800"/>
          </a:xfrm>
        </p:spPr>
        <p:txBody>
          <a:bodyPr lIns="91440" rIns="91440" anchor="ctr" anchorCtr="0">
            <a:noAutofit/>
          </a:bodyPr>
          <a:lstStyle>
            <a:lvl1pPr algn="ctr">
              <a:defRPr sz="40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412491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sp>
        <p:nvSpPr>
          <p:cNvPr id="6" name="Graphic 3">
            <a:extLst>
              <a:ext uri="{FF2B5EF4-FFF2-40B4-BE49-F238E27FC236}">
                <a16:creationId xmlns:a16="http://schemas.microsoft.com/office/drawing/2014/main" id="{9F6F5170-03E0-4F11-AD88-551021EC7DEF}"/>
              </a:ext>
            </a:extLst>
          </p:cNvPr>
          <p:cNvSpPr>
            <a:spLocks/>
          </p:cNvSpPr>
          <p:nvPr/>
        </p:nvSpPr>
        <p:spPr>
          <a:xfrm>
            <a:off x="6096000" y="0"/>
            <a:ext cx="6094476" cy="6858000"/>
          </a:xfrm>
          <a:custGeom>
            <a:avLst/>
            <a:gdLst>
              <a:gd name="connsiteX0" fmla="*/ 0 w 9142095"/>
              <a:gd name="connsiteY0" fmla="*/ 0 h 451485"/>
              <a:gd name="connsiteX1" fmla="*/ 9142095 w 9142095"/>
              <a:gd name="connsiteY1" fmla="*/ 0 h 451485"/>
              <a:gd name="connsiteX2" fmla="*/ 9142095 w 9142095"/>
              <a:gd name="connsiteY2" fmla="*/ 451485 h 451485"/>
              <a:gd name="connsiteX3" fmla="*/ 0 w 9142095"/>
              <a:gd name="connsiteY3" fmla="*/ 451485 h 451485"/>
            </a:gdLst>
            <a:ahLst/>
            <a:cxnLst>
              <a:cxn ang="0">
                <a:pos x="connsiteX0" y="connsiteY0"/>
              </a:cxn>
              <a:cxn ang="0">
                <a:pos x="connsiteX1" y="connsiteY1"/>
              </a:cxn>
              <a:cxn ang="0">
                <a:pos x="connsiteX2" y="connsiteY2"/>
              </a:cxn>
              <a:cxn ang="0">
                <a:pos x="connsiteX3" y="connsiteY3"/>
              </a:cxn>
            </a:cxnLst>
            <a:rect l="l" t="t" r="r" b="b"/>
            <a:pathLst>
              <a:path w="9142095" h="451485">
                <a:moveTo>
                  <a:pt x="0" y="0"/>
                </a:moveTo>
                <a:lnTo>
                  <a:pt x="9142095" y="0"/>
                </a:lnTo>
                <a:lnTo>
                  <a:pt x="9142095" y="451485"/>
                </a:lnTo>
                <a:lnTo>
                  <a:pt x="0" y="451485"/>
                </a:lnTo>
                <a:close/>
              </a:path>
            </a:pathLst>
          </a:custGeom>
          <a:solidFill>
            <a:schemeClr val="accent2"/>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pic>
        <p:nvPicPr>
          <p:cNvPr id="5" name="Graphic 4">
            <a:extLst>
              <a:ext uri="{FF2B5EF4-FFF2-40B4-BE49-F238E27FC236}">
                <a16:creationId xmlns:a16="http://schemas.microsoft.com/office/drawing/2014/main" id="{ABDF2A30-DAEF-4E68-9D46-A16C728E722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74533" b="57798"/>
          <a:stretch/>
        </p:blipFill>
        <p:spPr>
          <a:xfrm>
            <a:off x="7700220" y="914400"/>
            <a:ext cx="4491780" cy="5943600"/>
          </a:xfrm>
          <a:prstGeom prst="rect">
            <a:avLst/>
          </a:prstGeom>
        </p:spPr>
      </p:pic>
    </p:spTree>
    <p:custDataLst>
      <p:tags r:id="rId1"/>
    </p:custDataLst>
    <p:extLst>
      <p:ext uri="{BB962C8B-B14F-4D97-AF65-F5344CB8AC3E}">
        <p14:creationId xmlns:p14="http://schemas.microsoft.com/office/powerpoint/2010/main" val="69554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Halfsi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a:xfrm>
            <a:off x="334963" y="228600"/>
            <a:ext cx="5486400" cy="6400799"/>
          </a:xfrm>
        </p:spPr>
        <p:txBody>
          <a:bodyPr anchor="ctr" anchorCtr="1"/>
          <a:lstStyle>
            <a:lvl1pPr>
              <a:defRPr sz="4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66743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Halfsi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CEA60-CDC2-4B29-9547-7FF4BAAAD1D1}"/>
              </a:ext>
            </a:extLst>
          </p:cNvPr>
          <p:cNvSpPr>
            <a:spLocks noGrp="1"/>
          </p:cNvSpPr>
          <p:nvPr>
            <p:ph type="ctrTitle"/>
          </p:nvPr>
        </p:nvSpPr>
        <p:spPr>
          <a:xfrm>
            <a:off x="335280" y="228600"/>
            <a:ext cx="5486400" cy="3200400"/>
          </a:xfrm>
        </p:spPr>
        <p:txBody>
          <a:bodyPr lIns="91440" rIns="91440" anchor="b">
            <a:noAutofit/>
          </a:bodyPr>
          <a:lstStyle>
            <a:lvl1pPr algn="l">
              <a:defRPr sz="4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034AC8-C001-49F4-B3CA-B1903AA703C4}"/>
              </a:ext>
            </a:extLst>
          </p:cNvPr>
          <p:cNvSpPr>
            <a:spLocks noGrp="1"/>
          </p:cNvSpPr>
          <p:nvPr>
            <p:ph type="subTitle" idx="1"/>
          </p:nvPr>
        </p:nvSpPr>
        <p:spPr>
          <a:xfrm>
            <a:off x="335280" y="3429000"/>
            <a:ext cx="5486400" cy="3200400"/>
          </a:xfrm>
        </p:spPr>
        <p:txBody>
          <a:bodyPr lIns="137160" tIns="182880" rIns="137160" bIns="18288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84682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00B4D03-7691-4843-8ADC-98DB675CE03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reeform: Shape 14">
            <a:extLst>
              <a:ext uri="{FF2B5EF4-FFF2-40B4-BE49-F238E27FC236}">
                <a16:creationId xmlns:a16="http://schemas.microsoft.com/office/drawing/2014/main" id="{03B22C15-7EC6-4021-AD3F-B561260F355A}"/>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endParaRPr lang="en-US"/>
          </a:p>
        </p:txBody>
      </p:sp>
    </p:spTree>
    <p:custDataLst>
      <p:tags r:id="rId1"/>
    </p:custDataLst>
    <p:extLst>
      <p:ext uri="{BB962C8B-B14F-4D97-AF65-F5344CB8AC3E}">
        <p14:creationId xmlns:p14="http://schemas.microsoft.com/office/powerpoint/2010/main" val="248333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2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52C1C68-0BE4-4BD4-B4AB-0C9493C17F82}"/>
              </a:ext>
            </a:extLst>
          </p:cNvPr>
          <p:cNvSpPr>
            <a:spLocks noGrp="1"/>
          </p:cNvSpPr>
          <p:nvPr>
            <p:ph sz="quarter" idx="10"/>
          </p:nvPr>
        </p:nvSpPr>
        <p:spPr>
          <a:xfrm>
            <a:off x="334962" y="1235075"/>
            <a:ext cx="54864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9">
            <a:extLst>
              <a:ext uri="{FF2B5EF4-FFF2-40B4-BE49-F238E27FC236}">
                <a16:creationId xmlns:a16="http://schemas.microsoft.com/office/drawing/2014/main" id="{97414ACF-E6E1-45E5-8EE2-D495C7FC11AF}"/>
              </a:ext>
            </a:extLst>
          </p:cNvPr>
          <p:cNvSpPr>
            <a:spLocks noGrp="1"/>
          </p:cNvSpPr>
          <p:nvPr>
            <p:ph sz="quarter" idx="11"/>
          </p:nvPr>
        </p:nvSpPr>
        <p:spPr>
          <a:xfrm>
            <a:off x="6370320" y="1235075"/>
            <a:ext cx="54864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Shape 11">
            <a:extLst>
              <a:ext uri="{FF2B5EF4-FFF2-40B4-BE49-F238E27FC236}">
                <a16:creationId xmlns:a16="http://schemas.microsoft.com/office/drawing/2014/main" id="{51D42FBD-6323-4A31-AF80-88838F4246B6}"/>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endParaRPr lang="en-US"/>
          </a:p>
        </p:txBody>
      </p:sp>
    </p:spTree>
    <p:custDataLst>
      <p:tags r:id="rId1"/>
    </p:custDataLst>
    <p:extLst>
      <p:ext uri="{BB962C8B-B14F-4D97-AF65-F5344CB8AC3E}">
        <p14:creationId xmlns:p14="http://schemas.microsoft.com/office/powerpoint/2010/main" val="163474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3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62896-193A-460B-BF6E-A72AF2FDD20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5B21A2B-35BD-410F-9AAB-71DFDFC64FEB}"/>
              </a:ext>
            </a:extLst>
          </p:cNvPr>
          <p:cNvSpPr>
            <a:spLocks noGrp="1"/>
          </p:cNvSpPr>
          <p:nvPr>
            <p:ph sz="quarter" idx="10"/>
          </p:nvPr>
        </p:nvSpPr>
        <p:spPr>
          <a:xfrm>
            <a:off x="334962"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9">
            <a:extLst>
              <a:ext uri="{FF2B5EF4-FFF2-40B4-BE49-F238E27FC236}">
                <a16:creationId xmlns:a16="http://schemas.microsoft.com/office/drawing/2014/main" id="{E1FDE994-B156-4570-A031-139DD0557979}"/>
              </a:ext>
            </a:extLst>
          </p:cNvPr>
          <p:cNvSpPr>
            <a:spLocks noGrp="1"/>
          </p:cNvSpPr>
          <p:nvPr>
            <p:ph sz="quarter" idx="11"/>
          </p:nvPr>
        </p:nvSpPr>
        <p:spPr>
          <a:xfrm>
            <a:off x="4267200"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9">
            <a:extLst>
              <a:ext uri="{FF2B5EF4-FFF2-40B4-BE49-F238E27FC236}">
                <a16:creationId xmlns:a16="http://schemas.microsoft.com/office/drawing/2014/main" id="{92B91E1A-CCE9-4D10-A61F-184C0847C69F}"/>
              </a:ext>
            </a:extLst>
          </p:cNvPr>
          <p:cNvSpPr>
            <a:spLocks noGrp="1"/>
          </p:cNvSpPr>
          <p:nvPr>
            <p:ph sz="quarter" idx="12"/>
          </p:nvPr>
        </p:nvSpPr>
        <p:spPr>
          <a:xfrm>
            <a:off x="8199120" y="1235075"/>
            <a:ext cx="3657600" cy="5119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reeform: Shape 12">
            <a:extLst>
              <a:ext uri="{FF2B5EF4-FFF2-40B4-BE49-F238E27FC236}">
                <a16:creationId xmlns:a16="http://schemas.microsoft.com/office/drawing/2014/main" id="{3360295B-F6FA-4FAF-814B-9BFEFD489A84}"/>
              </a:ext>
            </a:extLst>
          </p:cNvPr>
          <p:cNvSpPr/>
          <p:nvPr/>
        </p:nvSpPr>
        <p:spPr>
          <a:xfrm flipH="1">
            <a:off x="0" y="6362624"/>
            <a:ext cx="11507877" cy="495376"/>
          </a:xfrm>
          <a:custGeom>
            <a:avLst/>
            <a:gdLst>
              <a:gd name="connsiteX0" fmla="*/ 11507877 w 11507877"/>
              <a:gd name="connsiteY0" fmla="*/ 0 h 495376"/>
              <a:gd name="connsiteX1" fmla="*/ 0 w 11507877"/>
              <a:gd name="connsiteY1" fmla="*/ 0 h 495376"/>
              <a:gd name="connsiteX2" fmla="*/ 495376 w 11507877"/>
              <a:gd name="connsiteY2" fmla="*/ 495376 h 495376"/>
              <a:gd name="connsiteX3" fmla="*/ 11507877 w 11507877"/>
              <a:gd name="connsiteY3" fmla="*/ 495376 h 495376"/>
              <a:gd name="connsiteX4" fmla="*/ 11507877 w 11507877"/>
              <a:gd name="connsiteY4" fmla="*/ 0 h 49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877" h="495376">
                <a:moveTo>
                  <a:pt x="11507877" y="0"/>
                </a:moveTo>
                <a:lnTo>
                  <a:pt x="0" y="0"/>
                </a:lnTo>
                <a:cubicBezTo>
                  <a:pt x="0" y="274091"/>
                  <a:pt x="221285" y="495376"/>
                  <a:pt x="495376" y="495376"/>
                </a:cubicBezTo>
                <a:lnTo>
                  <a:pt x="11507877" y="495376"/>
                </a:lnTo>
                <a:lnTo>
                  <a:pt x="11507877" y="0"/>
                </a:lnTo>
                <a:close/>
              </a:path>
            </a:pathLst>
          </a:custGeom>
          <a:solidFill>
            <a:schemeClr val="accent1"/>
          </a:solidFill>
          <a:ln w="25136" cap="flat">
            <a:noFill/>
            <a:prstDash val="solid"/>
            <a:miter/>
          </a:ln>
        </p:spPr>
        <p:txBody>
          <a:bodyPr rtlCol="0" anchor="ctr"/>
          <a:lstStyle/>
          <a:p>
            <a:endParaRPr lang="en-US"/>
          </a:p>
        </p:txBody>
      </p:sp>
      <p:sp>
        <p:nvSpPr>
          <p:cNvPr id="4" name="Graphic 13">
            <a:extLst>
              <a:ext uri="{FF2B5EF4-FFF2-40B4-BE49-F238E27FC236}">
                <a16:creationId xmlns:a16="http://schemas.microsoft.com/office/drawing/2014/main" id="{129DBC58-1033-4F8F-81C4-678D1A47381F}"/>
              </a:ext>
            </a:extLst>
          </p:cNvPr>
          <p:cNvSpPr>
            <a:spLocks noChangeAspect="1"/>
          </p:cNvSpPr>
          <p:nvPr/>
        </p:nvSpPr>
        <p:spPr>
          <a:xfrm>
            <a:off x="10204532" y="6355080"/>
            <a:ext cx="1332148" cy="502920"/>
          </a:xfrm>
          <a:custGeom>
            <a:avLst/>
            <a:gdLst>
              <a:gd name="connsiteX0" fmla="*/ 1342918 w 1343247"/>
              <a:gd name="connsiteY0" fmla="*/ 37719 h 507110"/>
              <a:gd name="connsiteX1" fmla="*/ 1310787 w 1343247"/>
              <a:gd name="connsiteY1" fmla="*/ 0 h 507110"/>
              <a:gd name="connsiteX2" fmla="*/ 705886 w 1343247"/>
              <a:gd name="connsiteY2" fmla="*/ 0 h 507110"/>
              <a:gd name="connsiteX3" fmla="*/ 4592 w 1343247"/>
              <a:gd name="connsiteY3" fmla="*/ 494538 h 507110"/>
              <a:gd name="connsiteX4" fmla="*/ 5989 w 1343247"/>
              <a:gd name="connsiteY4" fmla="*/ 507111 h 507110"/>
              <a:gd name="connsiteX5" fmla="*/ 781324 w 1343247"/>
              <a:gd name="connsiteY5" fmla="*/ 507111 h 507110"/>
              <a:gd name="connsiteX6" fmla="*/ 1342918 w 1343247"/>
              <a:gd name="connsiteY6" fmla="*/ 37719 h 50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247" h="507110">
                <a:moveTo>
                  <a:pt x="1342918" y="37719"/>
                </a:moveTo>
                <a:cubicBezTo>
                  <a:pt x="1345712" y="18161"/>
                  <a:pt x="1330345" y="0"/>
                  <a:pt x="1310787" y="0"/>
                </a:cubicBezTo>
                <a:lnTo>
                  <a:pt x="705886" y="0"/>
                </a:lnTo>
                <a:cubicBezTo>
                  <a:pt x="229509" y="0"/>
                  <a:pt x="323108" y="409321"/>
                  <a:pt x="4592" y="494538"/>
                </a:cubicBezTo>
                <a:cubicBezTo>
                  <a:pt x="-2393" y="495935"/>
                  <a:pt x="-996" y="507111"/>
                  <a:pt x="5989" y="507111"/>
                </a:cubicBezTo>
                <a:lnTo>
                  <a:pt x="781324" y="507111"/>
                </a:lnTo>
                <a:cubicBezTo>
                  <a:pt x="1024402" y="507111"/>
                  <a:pt x="1301008" y="333883"/>
                  <a:pt x="1342918" y="37719"/>
                </a:cubicBezTo>
                <a:close/>
              </a:path>
            </a:pathLst>
          </a:custGeom>
          <a:solidFill>
            <a:srgbClr val="C8161D"/>
          </a:solidFill>
          <a:ln w="13891" cap="flat">
            <a:noFill/>
            <a:prstDash val="solid"/>
            <a:miter/>
          </a:ln>
        </p:spPr>
        <p:txBody>
          <a:bodyPr rtlCol="0" anchor="ctr"/>
          <a:lstStyle/>
          <a:p>
            <a:endParaRPr lang="en-US"/>
          </a:p>
        </p:txBody>
      </p:sp>
    </p:spTree>
    <p:custDataLst>
      <p:tags r:id="rId1"/>
    </p:custDataLst>
    <p:extLst>
      <p:ext uri="{BB962C8B-B14F-4D97-AF65-F5344CB8AC3E}">
        <p14:creationId xmlns:p14="http://schemas.microsoft.com/office/powerpoint/2010/main" val="200574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0.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oleObject" Target="../embeddings/oleObject1.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3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3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ags" Target="../tags/tag33.xml"/><Relationship Id="rId35" Type="http://schemas.openxmlformats.org/officeDocument/2006/relationships/image" Target="../media/image11.png"/><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oleObject" Target="../embeddings/oleObject3.bin"/><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tags" Target="../tags/tag6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66.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65.xml"/><Relationship Id="rId28" Type="http://schemas.openxmlformats.org/officeDocument/2006/relationships/image" Target="../media/image11.png"/><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3.xml"/><Relationship Id="rId27"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34" Type="http://schemas.openxmlformats.org/officeDocument/2006/relationships/tags" Target="../tags/tag89.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theme" Target="../theme/theme4.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8"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6EA084-203F-4328-9093-8ED05ED87A2A}"/>
              </a:ext>
            </a:extLst>
          </p:cNvPr>
          <p:cNvSpPr>
            <a:spLocks noGrp="1"/>
          </p:cNvSpPr>
          <p:nvPr>
            <p:ph type="title"/>
          </p:nvPr>
        </p:nvSpPr>
        <p:spPr>
          <a:xfrm>
            <a:off x="334963" y="228601"/>
            <a:ext cx="11522075" cy="731520"/>
          </a:xfrm>
          <a:prstGeom prst="rect">
            <a:avLst/>
          </a:prstGeom>
        </p:spPr>
        <p:txBody>
          <a:bodyPr vert="horz" lIns="91440" tIns="91440" rIns="91440" bIns="0" rtlCol="0" anchor="ctr">
            <a:noAutofit/>
          </a:bodyPr>
          <a:lstStyle/>
          <a:p>
            <a:r>
              <a:rPr lang="en-US" dirty="0"/>
              <a:t>Click to edit</a:t>
            </a:r>
            <a:br>
              <a:rPr lang="en-US" dirty="0"/>
            </a:br>
            <a:r>
              <a:rPr lang="en-US" dirty="0"/>
              <a:t>Master title style</a:t>
            </a:r>
          </a:p>
        </p:txBody>
      </p:sp>
      <p:sp>
        <p:nvSpPr>
          <p:cNvPr id="3" name="Text Placeholder 2">
            <a:extLst>
              <a:ext uri="{FF2B5EF4-FFF2-40B4-BE49-F238E27FC236}">
                <a16:creationId xmlns:a16="http://schemas.microsoft.com/office/drawing/2014/main" id="{BA985D98-3239-4503-8D46-06AE345F49FC}"/>
              </a:ext>
            </a:extLst>
          </p:cNvPr>
          <p:cNvSpPr>
            <a:spLocks noGrp="1"/>
          </p:cNvSpPr>
          <p:nvPr>
            <p:ph type="body" idx="1"/>
          </p:nvPr>
        </p:nvSpPr>
        <p:spPr>
          <a:xfrm>
            <a:off x="334963" y="1235075"/>
            <a:ext cx="11522075" cy="511968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33"/>
    </p:custDataLst>
    <p:extLst>
      <p:ext uri="{BB962C8B-B14F-4D97-AF65-F5344CB8AC3E}">
        <p14:creationId xmlns:p14="http://schemas.microsoft.com/office/powerpoint/2010/main" val="266212452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ts val="600"/>
        </a:spcBef>
        <a:buNone/>
        <a:defRPr sz="3200" b="1" kern="1200">
          <a:solidFill>
            <a:schemeClr val="tx1"/>
          </a:solidFill>
          <a:latin typeface="+mj-lt"/>
          <a:ea typeface="+mj-ea"/>
          <a:cs typeface="+mj-cs"/>
        </a:defRPr>
      </a:lvl1pPr>
    </p:titleStyle>
    <p:body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11">
          <p15:clr>
            <a:srgbClr val="F26B43"/>
          </p15:clr>
        </p15:guide>
        <p15:guide id="3" pos="7469">
          <p15:clr>
            <a:srgbClr val="F26B43"/>
          </p15:clr>
        </p15:guide>
        <p15:guide id="4" pos="2561">
          <p15:clr>
            <a:srgbClr val="F26B43"/>
          </p15:clr>
        </p15:guide>
        <p15:guide id="5" pos="5119">
          <p15:clr>
            <a:srgbClr val="F26B43"/>
          </p15:clr>
        </p15:guide>
        <p15:guide id="7" orient="horz" pos="144">
          <p15:clr>
            <a:srgbClr val="F26B43"/>
          </p15:clr>
        </p15:guide>
        <p15:guide id="8" orient="horz" pos="4176">
          <p15:clr>
            <a:srgbClr val="F26B43"/>
          </p15:clr>
        </p15:guide>
        <p15:guide id="11" orient="horz" pos="1440">
          <p15:clr>
            <a:srgbClr val="F26B43"/>
          </p15:clr>
        </p15:guide>
        <p15:guide id="12" orient="horz" pos="2880">
          <p15:clr>
            <a:srgbClr val="F26B43"/>
          </p15:clr>
        </p15:guide>
        <p15:guide id="13"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01" imgH="502" progId="TCLayout.ActiveDocument.1">
                  <p:embed/>
                </p:oleObj>
              </mc:Choice>
              <mc:Fallback>
                <p:oleObj name="think-cell Slide" r:id="rId33" imgW="501" imgH="502" progId="TCLayout.ActiveDocument.1">
                  <p:embed/>
                  <p:pic>
                    <p:nvPicPr>
                      <p:cNvPr id="9" name="Object 8"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2"/>
            </p:custDataLst>
          </p:nvPr>
        </p:nvSpPr>
        <p:spPr>
          <a:xfrm>
            <a:off x="-105323" y="-137607"/>
            <a:ext cx="369397" cy="43396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2400" b="1" i="0" u="none" strike="noStrike" kern="1200" cap="none" spc="0" normalizeH="0" baseline="0" noProof="0" dirty="0" err="1">
              <a:ln>
                <a:noFill/>
              </a:ln>
              <a:solidFill>
                <a:srgbClr val="FFFFFF"/>
              </a:solidFill>
              <a:effectLst/>
              <a:uLnTx/>
              <a:uFillTx/>
              <a:latin typeface="Speedee" panose="020B0603030502020204" pitchFamily="34" charset="0"/>
              <a:ea typeface="+mn-ea"/>
              <a:cs typeface="+mn-cs"/>
              <a:sym typeface="Speedee" panose="020B0603030502020204" pitchFamily="34" charset="0"/>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ctr"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Footer Placeholder 3"/>
          <p:cNvSpPr>
            <a:spLocks noGrp="1"/>
          </p:cNvSpPr>
          <p:nvPr>
            <p:ph type="ftr" sz="quarter" idx="3"/>
          </p:nvPr>
        </p:nvSpPr>
        <p:spPr>
          <a:xfrm>
            <a:off x="67614" y="6487053"/>
            <a:ext cx="4114800" cy="365125"/>
          </a:xfrm>
          <a:prstGeom prst="rect">
            <a:avLst/>
          </a:prstGeom>
        </p:spPr>
        <p:txBody>
          <a:bodyPr vert="horz" lIns="91440" tIns="45720" rIns="91440" bIns="45720" rtlCol="0" anchor="t" anchorCtr="0"/>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Speedee"/>
              <a:ea typeface="+mn-ea"/>
              <a:cs typeface="+mn-cs"/>
            </a:endParaRPr>
          </a:p>
        </p:txBody>
      </p:sp>
    </p:spTree>
    <p:custDataLst>
      <p:tags r:id="rId30"/>
    </p:custDataLst>
    <p:extLst>
      <p:ext uri="{BB962C8B-B14F-4D97-AF65-F5344CB8AC3E}">
        <p14:creationId xmlns:p14="http://schemas.microsoft.com/office/powerpoint/2010/main" val="1730110081"/>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ts val="600"/>
        </a:spcBef>
        <a:buNone/>
        <a:defRPr sz="2400" b="1" kern="1200">
          <a:solidFill>
            <a:schemeClr val="tx1"/>
          </a:solidFill>
          <a:latin typeface="+mj-lt"/>
          <a:ea typeface="+mj-ea"/>
          <a:cs typeface="+mj-cs"/>
        </a:defRPr>
      </a:lvl1pPr>
    </p:titleStyle>
    <p:bodyStyle>
      <a:lvl1pPr marL="287338" indent="-287338" algn="l" defTabSz="914400" rtl="0" eaLnBrk="1" latinLnBrk="0" hangingPunct="1">
        <a:lnSpc>
          <a:spcPct val="90000"/>
        </a:lnSpc>
        <a:spcBef>
          <a:spcPts val="1800"/>
        </a:spcBef>
        <a:buFontTx/>
        <a:buBlip>
          <a:blip r:embed="rId35"/>
        </a:buBlip>
        <a:defRPr sz="20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01" imgH="502" progId="TCLayout.ActiveDocument.1">
                  <p:embed/>
                </p:oleObj>
              </mc:Choice>
              <mc:Fallback>
                <p:oleObj name="think-cell Slide" r:id="rId26" imgW="501" imgH="502" progId="TCLayout.ActiveDocument.1">
                  <p:embed/>
                  <p:pic>
                    <p:nvPicPr>
                      <p:cNvPr id="9" name="Object 8"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5"/>
            </p:custDataLst>
          </p:nvPr>
        </p:nvSpPr>
        <p:spPr>
          <a:xfrm>
            <a:off x="-105323" y="-137607"/>
            <a:ext cx="369397" cy="43396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sz="2400" b="1" i="0" u="none" strike="noStrike" kern="1200" cap="none" spc="0" normalizeH="0" baseline="0" noProof="0" dirty="0" err="1">
              <a:ln>
                <a:noFill/>
              </a:ln>
              <a:solidFill>
                <a:srgbClr val="FFFFFF"/>
              </a:solidFill>
              <a:effectLst/>
              <a:uLnTx/>
              <a:uFillTx/>
              <a:latin typeface="Speedee" panose="020B0603030502020204" pitchFamily="34" charset="0"/>
              <a:ea typeface="+mn-ea"/>
              <a:cs typeface="+mn-cs"/>
              <a:sym typeface="Speedee" panose="020B0603030502020204" pitchFamily="34" charset="0"/>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ctr"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Footer Placeholder 3"/>
          <p:cNvSpPr>
            <a:spLocks noGrp="1"/>
          </p:cNvSpPr>
          <p:nvPr>
            <p:ph type="ftr" sz="quarter" idx="3"/>
          </p:nvPr>
        </p:nvSpPr>
        <p:spPr>
          <a:xfrm>
            <a:off x="67614" y="6487053"/>
            <a:ext cx="4114800" cy="365125"/>
          </a:xfrm>
          <a:prstGeom prst="rect">
            <a:avLst/>
          </a:prstGeom>
        </p:spPr>
        <p:txBody>
          <a:bodyPr vert="horz" lIns="91440" tIns="45720" rIns="91440" bIns="45720" rtlCol="0" anchor="t" anchorCtr="0"/>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Speedee"/>
              <a:ea typeface="+mn-ea"/>
              <a:cs typeface="+mn-cs"/>
            </a:endParaRPr>
          </a:p>
        </p:txBody>
      </p:sp>
    </p:spTree>
    <p:custDataLst>
      <p:tags r:id="rId23"/>
    </p:custDataLst>
    <p:extLst>
      <p:ext uri="{BB962C8B-B14F-4D97-AF65-F5344CB8AC3E}">
        <p14:creationId xmlns:p14="http://schemas.microsoft.com/office/powerpoint/2010/main" val="10186558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ts val="600"/>
        </a:spcBef>
        <a:buNone/>
        <a:defRPr sz="2400" b="1" kern="1200">
          <a:solidFill>
            <a:schemeClr val="tx1"/>
          </a:solidFill>
          <a:latin typeface="+mj-lt"/>
          <a:ea typeface="+mj-ea"/>
          <a:cs typeface="+mj-cs"/>
        </a:defRPr>
      </a:lvl1pPr>
    </p:titleStyle>
    <p:bodyStyle>
      <a:lvl1pPr marL="287338" indent="-287338" algn="l" defTabSz="914400" rtl="0" eaLnBrk="1" latinLnBrk="0" hangingPunct="1">
        <a:lnSpc>
          <a:spcPct val="90000"/>
        </a:lnSpc>
        <a:spcBef>
          <a:spcPts val="1800"/>
        </a:spcBef>
        <a:buFontTx/>
        <a:buBlip>
          <a:blip r:embed="rId28"/>
        </a:buBlip>
        <a:defRPr sz="20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6EA084-203F-4328-9093-8ED05ED87A2A}"/>
              </a:ext>
            </a:extLst>
          </p:cNvPr>
          <p:cNvSpPr>
            <a:spLocks noGrp="1"/>
          </p:cNvSpPr>
          <p:nvPr>
            <p:ph type="title"/>
          </p:nvPr>
        </p:nvSpPr>
        <p:spPr>
          <a:xfrm>
            <a:off x="334963" y="228601"/>
            <a:ext cx="11522075" cy="731520"/>
          </a:xfrm>
          <a:prstGeom prst="rect">
            <a:avLst/>
          </a:prstGeom>
        </p:spPr>
        <p:txBody>
          <a:bodyPr vert="horz" lIns="91440" tIns="91440" rIns="91440" bIns="0" rtlCol="0" anchor="ctr">
            <a:noAutofit/>
          </a:bodyPr>
          <a:lstStyle/>
          <a:p>
            <a:r>
              <a:rPr lang="en-US" dirty="0"/>
              <a:t>Click to edit</a:t>
            </a:r>
            <a:br>
              <a:rPr lang="en-US" dirty="0"/>
            </a:br>
            <a:r>
              <a:rPr lang="en-US" dirty="0"/>
              <a:t>Master title style</a:t>
            </a:r>
          </a:p>
        </p:txBody>
      </p:sp>
      <p:sp>
        <p:nvSpPr>
          <p:cNvPr id="3" name="Text Placeholder 2">
            <a:extLst>
              <a:ext uri="{FF2B5EF4-FFF2-40B4-BE49-F238E27FC236}">
                <a16:creationId xmlns:a16="http://schemas.microsoft.com/office/drawing/2014/main" id="{BA985D98-3239-4503-8D46-06AE345F49FC}"/>
              </a:ext>
            </a:extLst>
          </p:cNvPr>
          <p:cNvSpPr>
            <a:spLocks noGrp="1"/>
          </p:cNvSpPr>
          <p:nvPr>
            <p:ph type="body" idx="1"/>
          </p:nvPr>
        </p:nvSpPr>
        <p:spPr>
          <a:xfrm>
            <a:off x="334963" y="1235075"/>
            <a:ext cx="11522075" cy="511968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34"/>
    </p:custDataLst>
    <p:extLst>
      <p:ext uri="{BB962C8B-B14F-4D97-AF65-F5344CB8AC3E}">
        <p14:creationId xmlns:p14="http://schemas.microsoft.com/office/powerpoint/2010/main" val="76573088"/>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 id="2147483944" r:id="rId31"/>
    <p:sldLayoutId id="214748394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ts val="600"/>
        </a:spcBef>
        <a:buNone/>
        <a:defRPr sz="3200" b="1" kern="1200">
          <a:solidFill>
            <a:schemeClr val="tx1"/>
          </a:solidFill>
          <a:latin typeface="+mj-lt"/>
          <a:ea typeface="+mj-ea"/>
          <a:cs typeface="+mj-cs"/>
        </a:defRPr>
      </a:lvl1pPr>
    </p:titleStyle>
    <p:body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11">
          <p15:clr>
            <a:srgbClr val="F26B43"/>
          </p15:clr>
        </p15:guide>
        <p15:guide id="3" pos="7469">
          <p15:clr>
            <a:srgbClr val="F26B43"/>
          </p15:clr>
        </p15:guide>
        <p15:guide id="4" pos="2561">
          <p15:clr>
            <a:srgbClr val="F26B43"/>
          </p15:clr>
        </p15:guide>
        <p15:guide id="5" pos="5119">
          <p15:clr>
            <a:srgbClr val="F26B43"/>
          </p15:clr>
        </p15:guide>
        <p15:guide id="7" orient="horz" pos="144">
          <p15:clr>
            <a:srgbClr val="F26B43"/>
          </p15:clr>
        </p15:guide>
        <p15:guide id="8" orient="horz" pos="4176">
          <p15:clr>
            <a:srgbClr val="F26B43"/>
          </p15:clr>
        </p15:guide>
        <p15:guide id="11" orient="horz" pos="1440">
          <p15:clr>
            <a:srgbClr val="F26B43"/>
          </p15:clr>
        </p15:guide>
        <p15:guide id="12" orient="horz" pos="2880">
          <p15:clr>
            <a:srgbClr val="F26B43"/>
          </p15:clr>
        </p15:guide>
        <p15:guide id="13"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63.xml"/><Relationship Id="rId5" Type="http://schemas.openxmlformats.org/officeDocument/2006/relationships/image" Target="../media/image46.pn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63.xml"/><Relationship Id="rId4" Type="http://schemas.openxmlformats.org/officeDocument/2006/relationships/image" Target="../media/image47.jp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63.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63.xml"/><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63.xml"/><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63.xml"/><Relationship Id="rId5" Type="http://schemas.openxmlformats.org/officeDocument/2006/relationships/image" Target="../media/image61.png"/><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7.xml.rels><?xml version="1.0" encoding="UTF-8" standalone="yes"?>
<Relationships xmlns="http://schemas.openxmlformats.org/package/2006/relationships"><Relationship Id="rId2" Type="http://schemas.openxmlformats.org/officeDocument/2006/relationships/hyperlink" Target="http://www.exampledomain.com/examplepage.html?appOrientation=landscape" TargetMode="External"/><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jpg"/><Relationship Id="rId1" Type="http://schemas.openxmlformats.org/officeDocument/2006/relationships/slideLayout" Target="../slideLayouts/slideLayout112.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40.xml.rels><?xml version="1.0" encoding="UTF-8" standalone="yes"?>
<Relationships xmlns="http://schemas.openxmlformats.org/package/2006/relationships"><Relationship Id="rId3" Type="http://schemas.openxmlformats.org/officeDocument/2006/relationships/hyperlink" Target="https://us-confluence.mcd.com/display/GL/App+Home" TargetMode="External"/><Relationship Id="rId2" Type="http://schemas.openxmlformats.org/officeDocument/2006/relationships/hyperlink" Target="https://us-confluence.mcd.com/display/GL/Offers" TargetMode="External"/><Relationship Id="rId1" Type="http://schemas.openxmlformats.org/officeDocument/2006/relationships/slideLayout" Target="../slideLayouts/slideLayout112.xml"/><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png"/><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png"/><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png"/><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png"/><Relationship Id="rId1" Type="http://schemas.openxmlformats.org/officeDocument/2006/relationships/slideLayout" Target="../slideLayouts/slideLayout112.xml"/><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image" Target="../media/image80.jpg"/><Relationship Id="rId1" Type="http://schemas.openxmlformats.org/officeDocument/2006/relationships/slideLayout" Target="../slideLayouts/slideLayout11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63.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22.jp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8.xml"/><Relationship Id="rId16" Type="http://schemas.openxmlformats.org/officeDocument/2006/relationships/image" Target="../media/image41.png"/><Relationship Id="rId1" Type="http://schemas.openxmlformats.org/officeDocument/2006/relationships/slideLayout" Target="../slideLayouts/slideLayout6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3702A82B-62F0-5D8E-C09D-95EF26835D70}"/>
              </a:ext>
            </a:extLst>
          </p:cNvPr>
          <p:cNvSpPr>
            <a:spLocks noGrp="1"/>
          </p:cNvSpPr>
          <p:nvPr>
            <p:ph type="subTitle" idx="1"/>
          </p:nvPr>
        </p:nvSpPr>
        <p:spPr/>
        <p:txBody>
          <a:bodyPr/>
          <a:lstStyle/>
          <a:p>
            <a:endParaRPr lang="en-US" dirty="0"/>
          </a:p>
        </p:txBody>
      </p:sp>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17" fontAlgn="auto">
              <a:spcBef>
                <a:spcPts val="0"/>
              </a:spcBef>
              <a:spcAft>
                <a:spcPts val="0"/>
              </a:spcAft>
            </a:pPr>
            <a:endParaRPr lang="en-US">
              <a:solidFill>
                <a:srgbClr val="F2F2F2"/>
              </a:solidFill>
              <a:latin typeface="Open Sans Light"/>
            </a:endParaRPr>
          </a:p>
        </p:txBody>
      </p:sp>
      <p:sp>
        <p:nvSpPr>
          <p:cNvPr id="7" name="Title 1"/>
          <p:cNvSpPr txBox="1">
            <a:spLocks/>
          </p:cNvSpPr>
          <p:nvPr/>
        </p:nvSpPr>
        <p:spPr>
          <a:xfrm>
            <a:off x="251460" y="228600"/>
            <a:ext cx="4320540" cy="3200400"/>
          </a:xfrm>
          <a:prstGeom prst="rect">
            <a:avLst/>
          </a:prstGeom>
        </p:spPr>
        <p:txBody>
          <a:bodyPr vert="horz" lIns="91440" tIns="91440" rIns="91440" bIns="0" rtlCol="0" anchor="b">
            <a:noAutofit/>
          </a:bodyPr>
          <a:lstStyle>
            <a:lvl1pPr algn="l" defTabSz="914400" rtl="0" eaLnBrk="1" latinLnBrk="0" hangingPunct="1">
              <a:lnSpc>
                <a:spcPct val="85000"/>
              </a:lnSpc>
              <a:spcBef>
                <a:spcPts val="600"/>
              </a:spcBef>
              <a:buNone/>
              <a:defRPr sz="4000" b="1" kern="1200">
                <a:solidFill>
                  <a:schemeClr val="tx1"/>
                </a:solidFill>
                <a:latin typeface="+mj-lt"/>
                <a:ea typeface="+mj-ea"/>
                <a:cs typeface="+mj-cs"/>
              </a:defRPr>
            </a:lvl1pPr>
          </a:lstStyle>
          <a:p>
            <a:pPr fontAlgn="auto">
              <a:spcAft>
                <a:spcPts val="0"/>
              </a:spcAft>
            </a:pPr>
            <a:r>
              <a:rPr lang="en-US" sz="3200">
                <a:latin typeface="Arial" pitchFamily="34" charset="0"/>
                <a:cs typeface="Arial" pitchFamily="34" charset="0"/>
              </a:rPr>
              <a:t>Plexure Onboarding  </a:t>
            </a:r>
            <a:endParaRPr lang="en-US" sz="3200" dirty="0">
              <a:latin typeface="Arial" pitchFamily="34" charset="0"/>
              <a:cs typeface="Arial" pitchFamily="34" charset="0"/>
            </a:endParaRPr>
          </a:p>
        </p:txBody>
      </p:sp>
    </p:spTree>
    <p:extLst>
      <p:ext uri="{BB962C8B-B14F-4D97-AF65-F5344CB8AC3E}">
        <p14:creationId xmlns:p14="http://schemas.microsoft.com/office/powerpoint/2010/main" val="288203569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sp>
        <p:nvSpPr>
          <p:cNvPr id="7" name="object 5"/>
          <p:cNvSpPr txBox="1"/>
          <p:nvPr/>
        </p:nvSpPr>
        <p:spPr>
          <a:xfrm>
            <a:off x="1807280" y="1232932"/>
            <a:ext cx="5110756" cy="3046988"/>
          </a:xfrm>
          <a:prstGeom prst="rect">
            <a:avLst/>
          </a:prstGeom>
        </p:spPr>
        <p:txBody>
          <a:bodyPr vert="horz" wrap="square" lIns="0" tIns="0" rIns="0" bIns="0" rtlCol="0">
            <a:spAutoFit/>
          </a:bodyPr>
          <a:lstStyle/>
          <a:p>
            <a:pPr marL="202406" marR="286703" indent="-192881" algn="just">
              <a:buChar char="•"/>
              <a:tabLst>
                <a:tab pos="201930" algn="l"/>
                <a:tab pos="202406" algn="l"/>
              </a:tabLst>
            </a:pPr>
            <a:r>
              <a:rPr dirty="0">
                <a:cs typeface="Arial"/>
              </a:rPr>
              <a:t>For </a:t>
            </a:r>
            <a:r>
              <a:rPr spc="-4" dirty="0">
                <a:cs typeface="Arial"/>
              </a:rPr>
              <a:t>GMAL </a:t>
            </a:r>
            <a:r>
              <a:rPr dirty="0">
                <a:cs typeface="Arial"/>
              </a:rPr>
              <a:t>all </a:t>
            </a:r>
            <a:r>
              <a:rPr spc="-4" dirty="0">
                <a:cs typeface="Arial"/>
              </a:rPr>
              <a:t>markets </a:t>
            </a:r>
            <a:r>
              <a:rPr dirty="0">
                <a:cs typeface="Arial"/>
              </a:rPr>
              <a:t>will get </a:t>
            </a:r>
            <a:r>
              <a:rPr spc="-4" dirty="0">
                <a:cs typeface="Arial"/>
              </a:rPr>
              <a:t>their</a:t>
            </a:r>
            <a:r>
              <a:rPr spc="-113" dirty="0">
                <a:cs typeface="Arial"/>
              </a:rPr>
              <a:t> </a:t>
            </a:r>
            <a:r>
              <a:rPr dirty="0">
                <a:cs typeface="Arial"/>
              </a:rPr>
              <a:t>own  </a:t>
            </a:r>
            <a:r>
              <a:rPr spc="-4" dirty="0">
                <a:cs typeface="Arial"/>
              </a:rPr>
              <a:t>Merchant </a:t>
            </a:r>
            <a:r>
              <a:rPr dirty="0">
                <a:cs typeface="Arial"/>
              </a:rPr>
              <a:t>level</a:t>
            </a:r>
            <a:r>
              <a:rPr spc="-56" dirty="0">
                <a:cs typeface="Arial"/>
              </a:rPr>
              <a:t> </a:t>
            </a:r>
            <a:r>
              <a:rPr dirty="0">
                <a:cs typeface="Arial"/>
              </a:rPr>
              <a:t>access</a:t>
            </a:r>
          </a:p>
          <a:p>
            <a:pPr algn="just">
              <a:spcBef>
                <a:spcPts val="30"/>
              </a:spcBef>
              <a:buClr>
                <a:srgbClr val="FFFFFF"/>
              </a:buClr>
              <a:buFont typeface="Arial"/>
              <a:buChar char="•"/>
            </a:pPr>
            <a:endParaRPr dirty="0">
              <a:cs typeface="Times New Roman"/>
            </a:endParaRPr>
          </a:p>
          <a:p>
            <a:pPr marL="202406" marR="186690" indent="-192881" algn="just">
              <a:buChar char="•"/>
              <a:tabLst>
                <a:tab pos="201930" algn="l"/>
                <a:tab pos="202406" algn="l"/>
              </a:tabLst>
            </a:pPr>
            <a:r>
              <a:rPr spc="-4" dirty="0">
                <a:cs typeface="Arial"/>
              </a:rPr>
              <a:t>Markets </a:t>
            </a:r>
            <a:r>
              <a:rPr dirty="0">
                <a:cs typeface="Arial"/>
              </a:rPr>
              <a:t>can </a:t>
            </a:r>
            <a:r>
              <a:rPr spc="-4" dirty="0">
                <a:cs typeface="Arial"/>
              </a:rPr>
              <a:t>create content </a:t>
            </a:r>
            <a:r>
              <a:rPr dirty="0">
                <a:cs typeface="Arial"/>
              </a:rPr>
              <a:t>and</a:t>
            </a:r>
            <a:r>
              <a:rPr spc="-45" dirty="0">
                <a:cs typeface="Arial"/>
              </a:rPr>
              <a:t> </a:t>
            </a:r>
            <a:r>
              <a:rPr spc="-4" dirty="0">
                <a:cs typeface="Arial"/>
              </a:rPr>
              <a:t>manage  </a:t>
            </a:r>
            <a:r>
              <a:rPr dirty="0">
                <a:cs typeface="Arial"/>
              </a:rPr>
              <a:t>campaigns on </a:t>
            </a:r>
            <a:r>
              <a:rPr spc="-4" dirty="0">
                <a:cs typeface="Arial"/>
              </a:rPr>
              <a:t>the Merchant</a:t>
            </a:r>
            <a:r>
              <a:rPr spc="-75" dirty="0">
                <a:cs typeface="Arial"/>
              </a:rPr>
              <a:t> </a:t>
            </a:r>
            <a:r>
              <a:rPr dirty="0">
                <a:cs typeface="Arial"/>
              </a:rPr>
              <a:t>level</a:t>
            </a:r>
          </a:p>
          <a:p>
            <a:pPr algn="just">
              <a:spcBef>
                <a:spcPts val="30"/>
              </a:spcBef>
              <a:buClr>
                <a:srgbClr val="FFFFFF"/>
              </a:buClr>
              <a:buFont typeface="Arial"/>
              <a:buChar char="•"/>
            </a:pPr>
            <a:endParaRPr dirty="0">
              <a:cs typeface="Times New Roman"/>
            </a:endParaRPr>
          </a:p>
          <a:p>
            <a:pPr marL="202406" marR="3810" indent="-192881" algn="just">
              <a:buChar char="•"/>
              <a:tabLst>
                <a:tab pos="201930" algn="l"/>
                <a:tab pos="202406" algn="l"/>
              </a:tabLst>
            </a:pPr>
            <a:r>
              <a:rPr spc="-4" dirty="0">
                <a:cs typeface="Arial"/>
              </a:rPr>
              <a:t>Owner </a:t>
            </a:r>
            <a:r>
              <a:rPr dirty="0">
                <a:cs typeface="Arial"/>
              </a:rPr>
              <a:t>level is mainly </a:t>
            </a:r>
            <a:r>
              <a:rPr spc="-4" dirty="0">
                <a:cs typeface="Arial"/>
              </a:rPr>
              <a:t>for configuration </a:t>
            </a:r>
            <a:r>
              <a:rPr dirty="0">
                <a:cs typeface="Arial"/>
              </a:rPr>
              <a:t>and  </a:t>
            </a:r>
            <a:r>
              <a:rPr spc="-4" dirty="0">
                <a:cs typeface="Arial"/>
              </a:rPr>
              <a:t>management </a:t>
            </a:r>
            <a:r>
              <a:rPr dirty="0">
                <a:cs typeface="Arial"/>
              </a:rPr>
              <a:t>of </a:t>
            </a:r>
            <a:r>
              <a:rPr spc="-4" dirty="0">
                <a:cs typeface="Arial"/>
              </a:rPr>
              <a:t>segments </a:t>
            </a:r>
            <a:r>
              <a:rPr dirty="0">
                <a:cs typeface="Arial"/>
              </a:rPr>
              <a:t>and</a:t>
            </a:r>
            <a:r>
              <a:rPr spc="-49" dirty="0">
                <a:cs typeface="Arial"/>
              </a:rPr>
              <a:t> </a:t>
            </a:r>
            <a:r>
              <a:rPr spc="-4" dirty="0">
                <a:cs typeface="Arial"/>
              </a:rPr>
              <a:t>tags</a:t>
            </a:r>
            <a:endParaRPr dirty="0">
              <a:cs typeface="Arial"/>
            </a:endParaRPr>
          </a:p>
          <a:p>
            <a:pPr algn="just">
              <a:spcBef>
                <a:spcPts val="30"/>
              </a:spcBef>
              <a:buClr>
                <a:srgbClr val="FFFFFF"/>
              </a:buClr>
              <a:buFont typeface="Arial"/>
              <a:buChar char="•"/>
            </a:pPr>
            <a:endParaRPr dirty="0">
              <a:cs typeface="Times New Roman"/>
            </a:endParaRPr>
          </a:p>
          <a:p>
            <a:pPr marL="202406" marR="313849" indent="-192881" algn="just">
              <a:buChar char="•"/>
              <a:tabLst>
                <a:tab pos="201930" algn="l"/>
                <a:tab pos="202406" algn="l"/>
              </a:tabLst>
            </a:pPr>
            <a:r>
              <a:rPr lang="en-US" spc="-4" dirty="0">
                <a:cs typeface="Arial"/>
              </a:rPr>
              <a:t>U</a:t>
            </a:r>
            <a:r>
              <a:rPr spc="-4" dirty="0">
                <a:cs typeface="Arial"/>
              </a:rPr>
              <a:t>sers </a:t>
            </a:r>
            <a:r>
              <a:rPr dirty="0">
                <a:cs typeface="Arial"/>
              </a:rPr>
              <a:t>in </a:t>
            </a:r>
            <a:r>
              <a:rPr spc="-4" dirty="0">
                <a:cs typeface="Arial"/>
              </a:rPr>
              <a:t>the market </a:t>
            </a:r>
            <a:r>
              <a:rPr dirty="0">
                <a:cs typeface="Arial"/>
              </a:rPr>
              <a:t>can </a:t>
            </a:r>
            <a:r>
              <a:rPr spc="-4" dirty="0">
                <a:cs typeface="Arial"/>
              </a:rPr>
              <a:t>grant</a:t>
            </a:r>
            <a:r>
              <a:rPr spc="-71" dirty="0">
                <a:cs typeface="Arial"/>
              </a:rPr>
              <a:t> </a:t>
            </a:r>
            <a:r>
              <a:rPr dirty="0">
                <a:cs typeface="Arial"/>
              </a:rPr>
              <a:t>or  </a:t>
            </a:r>
            <a:r>
              <a:rPr spc="-4" dirty="0">
                <a:cs typeface="Arial"/>
              </a:rPr>
              <a:t>revoke </a:t>
            </a:r>
            <a:r>
              <a:rPr dirty="0">
                <a:cs typeface="Arial"/>
              </a:rPr>
              <a:t>access </a:t>
            </a:r>
            <a:r>
              <a:rPr spc="-4" dirty="0">
                <a:cs typeface="Arial"/>
              </a:rPr>
              <a:t>for the Merchant</a:t>
            </a:r>
            <a:r>
              <a:rPr spc="-53" dirty="0">
                <a:cs typeface="Arial"/>
              </a:rPr>
              <a:t> </a:t>
            </a:r>
            <a:r>
              <a:rPr dirty="0">
                <a:cs typeface="Arial"/>
              </a:rPr>
              <a:t>level</a:t>
            </a:r>
          </a:p>
        </p:txBody>
      </p:sp>
      <p:sp>
        <p:nvSpPr>
          <p:cNvPr id="8" name="object 2">
            <a:extLst>
              <a:ext uri="{FF2B5EF4-FFF2-40B4-BE49-F238E27FC236}">
                <a16:creationId xmlns:a16="http://schemas.microsoft.com/office/drawing/2014/main" id="{E1FEF933-EAB1-4BCD-8225-9C6E985A936A}"/>
              </a:ext>
            </a:extLst>
          </p:cNvPr>
          <p:cNvSpPr txBox="1">
            <a:spLocks/>
          </p:cNvSpPr>
          <p:nvPr/>
        </p:nvSpPr>
        <p:spPr>
          <a:xfrm>
            <a:off x="995052" y="50098"/>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a:t>User Management</a:t>
            </a:r>
          </a:p>
        </p:txBody>
      </p:sp>
      <p:pic>
        <p:nvPicPr>
          <p:cNvPr id="9" name="Picture 8"/>
          <p:cNvPicPr>
            <a:picLocks noChangeAspect="1"/>
          </p:cNvPicPr>
          <p:nvPr/>
        </p:nvPicPr>
        <p:blipFill>
          <a:blip r:embed="rId3"/>
          <a:stretch>
            <a:fillRect/>
          </a:stretch>
        </p:blipFill>
        <p:spPr>
          <a:xfrm>
            <a:off x="8348491" y="1232932"/>
            <a:ext cx="3082358" cy="4898623"/>
          </a:xfrm>
          <a:prstGeom prst="rect">
            <a:avLst/>
          </a:prstGeom>
        </p:spPr>
      </p:pic>
    </p:spTree>
    <p:extLst>
      <p:ext uri="{BB962C8B-B14F-4D97-AF65-F5344CB8AC3E}">
        <p14:creationId xmlns:p14="http://schemas.microsoft.com/office/powerpoint/2010/main" val="3489002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370721" y="2273895"/>
            <a:ext cx="7450557" cy="1938992"/>
          </a:xfrm>
          <a:prstGeom prst="rect">
            <a:avLst/>
          </a:prstGeom>
          <a:noFill/>
        </p:spPr>
        <p:txBody>
          <a:bodyPr wrap="square" rtlCol="0">
            <a:spAutoFit/>
          </a:bodyPr>
          <a:lstStyle/>
          <a:p>
            <a:pPr algn="ctr"/>
            <a:r>
              <a:rPr lang="en-US" sz="6000" b="1" dirty="0">
                <a:solidFill>
                  <a:schemeClr val="accent2">
                    <a:lumMod val="75000"/>
                  </a:schemeClr>
                </a:solidFill>
                <a:latin typeface="Open Sans"/>
                <a:cs typeface="Arial Black"/>
              </a:rPr>
              <a:t>Campaign Management</a:t>
            </a:r>
            <a:endParaRPr lang="en-US" sz="6000" b="1" dirty="0">
              <a:latin typeface="Open Sans"/>
            </a:endParaRPr>
          </a:p>
        </p:txBody>
      </p:sp>
    </p:spTree>
    <p:extLst>
      <p:ext uri="{BB962C8B-B14F-4D97-AF65-F5344CB8AC3E}">
        <p14:creationId xmlns:p14="http://schemas.microsoft.com/office/powerpoint/2010/main" val="171124585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12</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5"/>
          <p:cNvSpPr txBox="1"/>
          <p:nvPr/>
        </p:nvSpPr>
        <p:spPr>
          <a:xfrm>
            <a:off x="1372728" y="1031050"/>
            <a:ext cx="9239853" cy="4616648"/>
          </a:xfrm>
          <a:prstGeom prst="rect">
            <a:avLst/>
          </a:prstGeom>
        </p:spPr>
        <p:txBody>
          <a:bodyPr vert="horz" wrap="square" lIns="0" tIns="0" rIns="0" bIns="0" rtlCol="0">
            <a:spAutoFit/>
          </a:bodyPr>
          <a:lstStyle>
            <a:defPPr>
              <a:defRPr lang="en-US"/>
            </a:defPPr>
            <a:lvl1pPr marL="202406" marR="286703" indent="-192881" algn="just">
              <a:buChar char="•"/>
              <a:tabLst>
                <a:tab pos="201930" algn="l"/>
                <a:tab pos="202406" algn="l"/>
              </a:tabLst>
              <a:defRPr>
                <a:cs typeface="Arial"/>
              </a:defRPr>
            </a:lvl1pPr>
          </a:lstStyle>
          <a:p>
            <a:pPr>
              <a:lnSpc>
                <a:spcPct val="150000"/>
              </a:lnSpc>
            </a:pPr>
            <a:r>
              <a:rPr sz="2000" dirty="0"/>
              <a:t>A campaign is basically a bucket that other content is assigned and the advantage of  organizing the content by campaigns is that  it allows you to have a systemized view of  the reporting</a:t>
            </a:r>
          </a:p>
          <a:p>
            <a:pPr>
              <a:lnSpc>
                <a:spcPct val="150000"/>
              </a:lnSpc>
            </a:pPr>
            <a:endParaRPr sz="2000" dirty="0"/>
          </a:p>
          <a:p>
            <a:pPr>
              <a:lnSpc>
                <a:spcPct val="150000"/>
              </a:lnSpc>
            </a:pPr>
            <a:r>
              <a:rPr sz="2000" dirty="0"/>
              <a:t>Plexure campaign module supports Offer,  Advertisement, Loyalty card and push  notifications to be grouped together based  on common characteristics</a:t>
            </a:r>
          </a:p>
          <a:p>
            <a:pPr>
              <a:lnSpc>
                <a:spcPct val="150000"/>
              </a:lnSpc>
            </a:pPr>
            <a:endParaRPr sz="2000" dirty="0"/>
          </a:p>
          <a:p>
            <a:pPr>
              <a:lnSpc>
                <a:spcPct val="150000"/>
              </a:lnSpc>
            </a:pPr>
            <a:r>
              <a:rPr sz="2000" dirty="0"/>
              <a:t>Plexure campaign module has calendar  view for marketing managers to visualize  the content and channel deliver &amp; list view  for content managers to manage content  easily</a:t>
            </a:r>
          </a:p>
        </p:txBody>
      </p:sp>
      <p:sp>
        <p:nvSpPr>
          <p:cNvPr id="5" name="object 2">
            <a:extLst>
              <a:ext uri="{FF2B5EF4-FFF2-40B4-BE49-F238E27FC236}">
                <a16:creationId xmlns:a16="http://schemas.microsoft.com/office/drawing/2014/main" id="{5B1F8ACA-8774-4121-AC65-A9DD28E199EA}"/>
              </a:ext>
            </a:extLst>
          </p:cNvPr>
          <p:cNvSpPr txBox="1">
            <a:spLocks/>
          </p:cNvSpPr>
          <p:nvPr/>
        </p:nvSpPr>
        <p:spPr>
          <a:xfrm>
            <a:off x="1218354" y="26763"/>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a:t>Campaigns Management</a:t>
            </a:r>
          </a:p>
        </p:txBody>
      </p:sp>
    </p:spTree>
    <p:extLst>
      <p:ext uri="{BB962C8B-B14F-4D97-AF65-F5344CB8AC3E}">
        <p14:creationId xmlns:p14="http://schemas.microsoft.com/office/powerpoint/2010/main" val="26402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txBox="1">
            <a:spLocks/>
          </p:cNvSpPr>
          <p:nvPr/>
        </p:nvSpPr>
        <p:spPr>
          <a:xfrm>
            <a:off x="1602654" y="562840"/>
            <a:ext cx="8428037" cy="3200400"/>
          </a:xfrm>
          <a:prstGeom prst="rect">
            <a:avLst/>
          </a:prstGeom>
        </p:spPr>
        <p:txBody>
          <a:bodyPr vert="horz" lIns="137160" tIns="91440" rIns="137160" bIns="274320" rtlCol="0" anchor="ctr" anchorCtr="0">
            <a:noAutofit/>
          </a:bodyPr>
          <a:lstStyle>
            <a:lvl1pPr marL="287338" indent="-287338" algn="l" defTabSz="914400" rtl="0" eaLnBrk="1" latinLnBrk="0" hangingPunct="1">
              <a:lnSpc>
                <a:spcPct val="90000"/>
              </a:lnSpc>
              <a:spcBef>
                <a:spcPts val="1800"/>
              </a:spcBef>
              <a:buFontTx/>
              <a:buBlip>
                <a:blip r:embed="rId3"/>
              </a:buBlip>
              <a:defRPr sz="20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50000"/>
              </a:lnSpc>
              <a:spcAft>
                <a:spcPts val="0"/>
              </a:spcAft>
              <a:buFontTx/>
              <a:buNone/>
            </a:pPr>
            <a:r>
              <a:rPr lang="en-US" sz="1800" dirty="0"/>
              <a:t>Two types of campaign views available in the </a:t>
            </a:r>
            <a:r>
              <a:rPr lang="en-US" sz="1800" dirty="0" err="1"/>
              <a:t>Plexure</a:t>
            </a:r>
            <a:r>
              <a:rPr lang="en-US" sz="1800" dirty="0"/>
              <a:t> platform</a:t>
            </a:r>
          </a:p>
          <a:p>
            <a:pPr marL="342900" indent="-342900" fontAlgn="auto">
              <a:lnSpc>
                <a:spcPct val="150000"/>
              </a:lnSpc>
              <a:spcAft>
                <a:spcPts val="0"/>
              </a:spcAft>
              <a:buFont typeface="Arial" panose="020B0604020202020204" pitchFamily="34" charset="0"/>
              <a:buChar char="•"/>
            </a:pPr>
            <a:r>
              <a:rPr lang="en-US" sz="1800" dirty="0"/>
              <a:t>When the Content Manager logs into the </a:t>
            </a:r>
            <a:r>
              <a:rPr lang="en-US" sz="1800" dirty="0" err="1"/>
              <a:t>Plexure</a:t>
            </a:r>
            <a:r>
              <a:rPr lang="en-US" sz="1800" dirty="0"/>
              <a:t>, the Content Manager is shown the default All Campaigns view</a:t>
            </a:r>
          </a:p>
          <a:p>
            <a:pPr marL="342900" indent="-342900" fontAlgn="auto">
              <a:lnSpc>
                <a:spcPct val="150000"/>
              </a:lnSpc>
              <a:spcAft>
                <a:spcPts val="0"/>
              </a:spcAft>
              <a:buFont typeface="Arial" panose="020B0604020202020204" pitchFamily="34" charset="0"/>
              <a:buChar char="•"/>
            </a:pPr>
            <a:r>
              <a:rPr lang="en-US" sz="1800" dirty="0"/>
              <a:t>When the Content Manager clicks on any particular campaign, the Content Manager is shown the view for the selected campaign.</a:t>
            </a:r>
          </a:p>
        </p:txBody>
      </p:sp>
      <p:sp>
        <p:nvSpPr>
          <p:cNvPr id="13" name="object 2">
            <a:extLst>
              <a:ext uri="{FF2B5EF4-FFF2-40B4-BE49-F238E27FC236}">
                <a16:creationId xmlns:a16="http://schemas.microsoft.com/office/drawing/2014/main" id="{ACAB82D8-B2D6-4F7A-9894-5182BFFD082A}"/>
              </a:ext>
            </a:extLst>
          </p:cNvPr>
          <p:cNvSpPr txBox="1">
            <a:spLocks/>
          </p:cNvSpPr>
          <p:nvPr/>
        </p:nvSpPr>
        <p:spPr>
          <a:xfrm>
            <a:off x="1033626" y="60802"/>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a:t>Campaigns Management</a:t>
            </a:r>
          </a:p>
        </p:txBody>
      </p:sp>
      <p:pic>
        <p:nvPicPr>
          <p:cNvPr id="15" name="Picture 14"/>
          <p:cNvPicPr>
            <a:picLocks noChangeAspect="1"/>
          </p:cNvPicPr>
          <p:nvPr/>
        </p:nvPicPr>
        <p:blipFill>
          <a:blip r:embed="rId4"/>
          <a:stretch>
            <a:fillRect/>
          </a:stretch>
        </p:blipFill>
        <p:spPr>
          <a:xfrm>
            <a:off x="1685303" y="3610264"/>
            <a:ext cx="8262737" cy="3098061"/>
          </a:xfrm>
          <a:prstGeom prst="rect">
            <a:avLst/>
          </a:prstGeom>
        </p:spPr>
      </p:pic>
    </p:spTree>
    <p:extLst>
      <p:ext uri="{BB962C8B-B14F-4D97-AF65-F5344CB8AC3E}">
        <p14:creationId xmlns:p14="http://schemas.microsoft.com/office/powerpoint/2010/main" val="95499572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p:cNvSpPr txBox="1"/>
          <p:nvPr/>
        </p:nvSpPr>
        <p:spPr>
          <a:xfrm>
            <a:off x="5674836" y="2627653"/>
            <a:ext cx="3855113" cy="577081"/>
          </a:xfrm>
          <a:prstGeom prst="rect">
            <a:avLst/>
          </a:prstGeom>
        </p:spPr>
        <p:txBody>
          <a:bodyPr vert="horz" wrap="square" lIns="0" tIns="0" rIns="0" bIns="0" rtlCol="0">
            <a:spAutoFit/>
          </a:bodyPr>
          <a:lstStyle/>
          <a:p>
            <a:pPr marL="9525">
              <a:lnSpc>
                <a:spcPts val="2156"/>
              </a:lnSpc>
            </a:pPr>
            <a:r>
              <a:rPr dirty="0">
                <a:latin typeface="Arial"/>
                <a:cs typeface="Arial"/>
              </a:rPr>
              <a:t>Merchant</a:t>
            </a:r>
            <a:r>
              <a:rPr spc="-83" dirty="0">
                <a:latin typeface="Arial"/>
                <a:cs typeface="Arial"/>
              </a:rPr>
              <a:t> </a:t>
            </a:r>
            <a:r>
              <a:rPr dirty="0">
                <a:latin typeface="Arial"/>
                <a:cs typeface="Arial"/>
              </a:rPr>
              <a:t>Level</a:t>
            </a:r>
          </a:p>
          <a:p>
            <a:pPr marL="9525" marR="3810">
              <a:lnSpc>
                <a:spcPts val="2175"/>
              </a:lnSpc>
              <a:spcBef>
                <a:spcPts val="53"/>
              </a:spcBef>
            </a:pPr>
            <a:r>
              <a:rPr spc="-4" dirty="0">
                <a:latin typeface="Arial"/>
                <a:cs typeface="Arial"/>
              </a:rPr>
              <a:t>Please </a:t>
            </a:r>
            <a:r>
              <a:rPr dirty="0">
                <a:latin typeface="Arial"/>
                <a:cs typeface="Arial"/>
              </a:rPr>
              <a:t>select </a:t>
            </a:r>
            <a:r>
              <a:rPr lang="en-US" spc="-4" dirty="0">
                <a:latin typeface="Arial"/>
                <a:cs typeface="Arial"/>
              </a:rPr>
              <a:t>New Campaign</a:t>
            </a:r>
            <a:endParaRPr dirty="0">
              <a:latin typeface="Arial"/>
              <a:cs typeface="Arial"/>
            </a:endParaRPr>
          </a:p>
        </p:txBody>
      </p:sp>
      <p:sp>
        <p:nvSpPr>
          <p:cNvPr id="8" name="object 7"/>
          <p:cNvSpPr/>
          <p:nvPr/>
        </p:nvSpPr>
        <p:spPr>
          <a:xfrm>
            <a:off x="4495588" y="2384859"/>
            <a:ext cx="1774031" cy="237649"/>
          </a:xfrm>
          <a:custGeom>
            <a:avLst/>
            <a:gdLst/>
            <a:ahLst/>
            <a:cxnLst/>
            <a:rect l="l" t="t" r="r" b="b"/>
            <a:pathLst>
              <a:path w="2365375" h="316864">
                <a:moveTo>
                  <a:pt x="469472" y="75768"/>
                </a:moveTo>
                <a:lnTo>
                  <a:pt x="111620" y="75768"/>
                </a:lnTo>
                <a:lnTo>
                  <a:pt x="2360980" y="316623"/>
                </a:lnTo>
                <a:lnTo>
                  <a:pt x="2365032" y="278739"/>
                </a:lnTo>
                <a:lnTo>
                  <a:pt x="469472" y="75768"/>
                </a:lnTo>
                <a:close/>
              </a:path>
              <a:path w="2365375" h="316864">
                <a:moveTo>
                  <a:pt x="119722" y="0"/>
                </a:moveTo>
                <a:lnTo>
                  <a:pt x="0" y="44653"/>
                </a:lnTo>
                <a:lnTo>
                  <a:pt x="107556" y="113639"/>
                </a:lnTo>
                <a:lnTo>
                  <a:pt x="111620" y="75768"/>
                </a:lnTo>
                <a:lnTo>
                  <a:pt x="469472" y="75768"/>
                </a:lnTo>
                <a:lnTo>
                  <a:pt x="115671" y="37884"/>
                </a:lnTo>
                <a:lnTo>
                  <a:pt x="119722" y="0"/>
                </a:lnTo>
                <a:close/>
              </a:path>
            </a:pathLst>
          </a:custGeom>
          <a:solidFill>
            <a:srgbClr val="666666"/>
          </a:solidFill>
        </p:spPr>
        <p:txBody>
          <a:bodyPr wrap="square" lIns="0" tIns="0" rIns="0" bIns="0" rtlCol="0"/>
          <a:lstStyle/>
          <a:p>
            <a:endParaRPr sz="1350"/>
          </a:p>
        </p:txBody>
      </p:sp>
      <p:sp>
        <p:nvSpPr>
          <p:cNvPr id="9" name="object 10"/>
          <p:cNvSpPr/>
          <p:nvPr/>
        </p:nvSpPr>
        <p:spPr>
          <a:xfrm>
            <a:off x="5060183" y="2503684"/>
            <a:ext cx="322421" cy="485299"/>
          </a:xfrm>
          <a:custGeom>
            <a:avLst/>
            <a:gdLst/>
            <a:ahLst/>
            <a:cxnLst/>
            <a:rect l="l" t="t" r="r" b="b"/>
            <a:pathLst>
              <a:path w="429895" h="647064">
                <a:moveTo>
                  <a:pt x="0" y="443039"/>
                </a:moveTo>
                <a:lnTo>
                  <a:pt x="74218" y="646442"/>
                </a:lnTo>
                <a:lnTo>
                  <a:pt x="277622" y="572236"/>
                </a:lnTo>
                <a:lnTo>
                  <a:pt x="208216" y="539940"/>
                </a:lnTo>
                <a:lnTo>
                  <a:pt x="238279" y="475335"/>
                </a:lnTo>
                <a:lnTo>
                  <a:pt x="69405" y="475335"/>
                </a:lnTo>
                <a:lnTo>
                  <a:pt x="0" y="443039"/>
                </a:lnTo>
              </a:path>
              <a:path w="429895" h="647064">
                <a:moveTo>
                  <a:pt x="69405" y="475335"/>
                </a:moveTo>
                <a:lnTo>
                  <a:pt x="238279" y="475335"/>
                </a:lnTo>
              </a:path>
              <a:path w="429895" h="647064">
                <a:moveTo>
                  <a:pt x="238279" y="475335"/>
                </a:moveTo>
                <a:lnTo>
                  <a:pt x="69405" y="475335"/>
                </a:lnTo>
              </a:path>
              <a:path w="429895" h="647064">
                <a:moveTo>
                  <a:pt x="290614" y="0"/>
                </a:moveTo>
                <a:lnTo>
                  <a:pt x="69405" y="475335"/>
                </a:lnTo>
                <a:lnTo>
                  <a:pt x="238279" y="475335"/>
                </a:lnTo>
                <a:lnTo>
                  <a:pt x="429412" y="64592"/>
                </a:lnTo>
                <a:lnTo>
                  <a:pt x="290614" y="0"/>
                </a:lnTo>
              </a:path>
            </a:pathLst>
          </a:custGeom>
        </p:spPr>
        <p:txBody>
          <a:bodyPr wrap="square" lIns="0" tIns="0" rIns="0" bIns="0" rtlCol="0"/>
          <a:lstStyle/>
          <a:p>
            <a:endParaRPr sz="1350"/>
          </a:p>
        </p:txBody>
      </p:sp>
      <p:sp>
        <p:nvSpPr>
          <p:cNvPr id="10" name="object 11"/>
          <p:cNvSpPr/>
          <p:nvPr/>
        </p:nvSpPr>
        <p:spPr>
          <a:xfrm rot="20823019">
            <a:off x="3901479" y="1838749"/>
            <a:ext cx="517683" cy="886119"/>
          </a:xfrm>
          <a:prstGeom prst="rect">
            <a:avLst/>
          </a:prstGeom>
          <a:blipFill>
            <a:blip r:embed="rId3" cstate="print"/>
            <a:stretch>
              <a:fillRect/>
            </a:stretch>
          </a:blipFill>
        </p:spPr>
        <p:txBody>
          <a:bodyPr wrap="square" lIns="0" tIns="0" rIns="0" bIns="0" rtlCol="0"/>
          <a:lstStyle/>
          <a:p>
            <a:endParaRPr sz="1350"/>
          </a:p>
        </p:txBody>
      </p:sp>
      <p:sp>
        <p:nvSpPr>
          <p:cNvPr id="11" name="object 12"/>
          <p:cNvSpPr/>
          <p:nvPr/>
        </p:nvSpPr>
        <p:spPr>
          <a:xfrm>
            <a:off x="5060183" y="2503684"/>
            <a:ext cx="322421" cy="485299"/>
          </a:xfrm>
          <a:custGeom>
            <a:avLst/>
            <a:gdLst/>
            <a:ahLst/>
            <a:cxnLst/>
            <a:rect l="l" t="t" r="r" b="b"/>
            <a:pathLst>
              <a:path w="429895" h="647064">
                <a:moveTo>
                  <a:pt x="0" y="443039"/>
                </a:moveTo>
                <a:lnTo>
                  <a:pt x="74218" y="646442"/>
                </a:lnTo>
                <a:lnTo>
                  <a:pt x="277622" y="572236"/>
                </a:lnTo>
                <a:lnTo>
                  <a:pt x="208216" y="539940"/>
                </a:lnTo>
                <a:lnTo>
                  <a:pt x="238279" y="475335"/>
                </a:lnTo>
                <a:lnTo>
                  <a:pt x="69405" y="475335"/>
                </a:lnTo>
                <a:lnTo>
                  <a:pt x="0" y="443039"/>
                </a:lnTo>
              </a:path>
              <a:path w="429895" h="647064">
                <a:moveTo>
                  <a:pt x="69405" y="475335"/>
                </a:moveTo>
                <a:lnTo>
                  <a:pt x="238279" y="475335"/>
                </a:lnTo>
              </a:path>
              <a:path w="429895" h="647064">
                <a:moveTo>
                  <a:pt x="238279" y="475335"/>
                </a:moveTo>
                <a:lnTo>
                  <a:pt x="69405" y="475335"/>
                </a:lnTo>
              </a:path>
              <a:path w="429895" h="647064">
                <a:moveTo>
                  <a:pt x="290614" y="0"/>
                </a:moveTo>
                <a:lnTo>
                  <a:pt x="69405" y="475335"/>
                </a:lnTo>
                <a:lnTo>
                  <a:pt x="238279" y="475335"/>
                </a:lnTo>
                <a:lnTo>
                  <a:pt x="429412" y="64592"/>
                </a:lnTo>
                <a:lnTo>
                  <a:pt x="290614" y="0"/>
                </a:lnTo>
              </a:path>
            </a:pathLst>
          </a:custGeom>
        </p:spPr>
        <p:txBody>
          <a:bodyPr wrap="square" lIns="0" tIns="0" rIns="0" bIns="0" rtlCol="0"/>
          <a:lstStyle/>
          <a:p>
            <a:endParaRPr sz="1350"/>
          </a:p>
        </p:txBody>
      </p:sp>
      <p:sp>
        <p:nvSpPr>
          <p:cNvPr id="12" name="object 2">
            <a:extLst>
              <a:ext uri="{FF2B5EF4-FFF2-40B4-BE49-F238E27FC236}">
                <a16:creationId xmlns:a16="http://schemas.microsoft.com/office/drawing/2014/main" id="{574F538F-1943-4356-BFA0-10295DFAFFF6}"/>
              </a:ext>
            </a:extLst>
          </p:cNvPr>
          <p:cNvSpPr txBox="1">
            <a:spLocks/>
          </p:cNvSpPr>
          <p:nvPr/>
        </p:nvSpPr>
        <p:spPr>
          <a:xfrm>
            <a:off x="987444" y="75422"/>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a:t>Campaigns Management</a:t>
            </a:r>
          </a:p>
        </p:txBody>
      </p:sp>
      <p:pic>
        <p:nvPicPr>
          <p:cNvPr id="13" name="Picture 12"/>
          <p:cNvPicPr>
            <a:picLocks noChangeAspect="1"/>
          </p:cNvPicPr>
          <p:nvPr/>
        </p:nvPicPr>
        <p:blipFill>
          <a:blip r:embed="rId4"/>
          <a:stretch>
            <a:fillRect/>
          </a:stretch>
        </p:blipFill>
        <p:spPr>
          <a:xfrm>
            <a:off x="1687075" y="1382229"/>
            <a:ext cx="2276475" cy="1943100"/>
          </a:xfrm>
          <a:prstGeom prst="rect">
            <a:avLst/>
          </a:prstGeom>
        </p:spPr>
      </p:pic>
      <p:pic>
        <p:nvPicPr>
          <p:cNvPr id="15" name="Picture 14"/>
          <p:cNvPicPr>
            <a:picLocks noChangeAspect="1"/>
          </p:cNvPicPr>
          <p:nvPr/>
        </p:nvPicPr>
        <p:blipFill>
          <a:blip r:embed="rId5"/>
          <a:stretch>
            <a:fillRect/>
          </a:stretch>
        </p:blipFill>
        <p:spPr>
          <a:xfrm>
            <a:off x="1486130" y="3835291"/>
            <a:ext cx="7597833" cy="1881860"/>
          </a:xfrm>
          <a:prstGeom prst="rect">
            <a:avLst/>
          </a:prstGeom>
        </p:spPr>
      </p:pic>
    </p:spTree>
    <p:extLst>
      <p:ext uri="{BB962C8B-B14F-4D97-AF65-F5344CB8AC3E}">
        <p14:creationId xmlns:p14="http://schemas.microsoft.com/office/powerpoint/2010/main" val="348176677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370721" y="2273895"/>
            <a:ext cx="7450557" cy="1938992"/>
          </a:xfrm>
          <a:prstGeom prst="rect">
            <a:avLst/>
          </a:prstGeom>
          <a:noFill/>
        </p:spPr>
        <p:txBody>
          <a:bodyPr wrap="square" rtlCol="0">
            <a:spAutoFit/>
          </a:bodyPr>
          <a:lstStyle/>
          <a:p>
            <a:pPr algn="ctr"/>
            <a:r>
              <a:rPr lang="en-US" sz="6000" b="1" dirty="0">
                <a:solidFill>
                  <a:schemeClr val="accent2">
                    <a:lumMod val="75000"/>
                  </a:schemeClr>
                </a:solidFill>
                <a:latin typeface="Open Sans"/>
                <a:cs typeface="Arial Black"/>
              </a:rPr>
              <a:t>Offers/Deals Management</a:t>
            </a:r>
            <a:endParaRPr lang="en-US" sz="6000" b="1" dirty="0">
              <a:latin typeface="Open Sans"/>
            </a:endParaRPr>
          </a:p>
        </p:txBody>
      </p:sp>
    </p:spTree>
    <p:extLst>
      <p:ext uri="{BB962C8B-B14F-4D97-AF65-F5344CB8AC3E}">
        <p14:creationId xmlns:p14="http://schemas.microsoft.com/office/powerpoint/2010/main" val="93338279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3"/>
          <p:cNvSpPr txBox="1"/>
          <p:nvPr/>
        </p:nvSpPr>
        <p:spPr>
          <a:xfrm>
            <a:off x="1970257" y="1222488"/>
            <a:ext cx="6219923" cy="5394408"/>
          </a:xfrm>
          <a:prstGeom prst="rect">
            <a:avLst/>
          </a:prstGeom>
        </p:spPr>
        <p:txBody>
          <a:bodyPr vert="horz" lIns="91440" tIns="45720" rIns="91440" bIns="45720" rtlCol="0">
            <a:normAutofit/>
          </a:bodyPr>
          <a:lstStyle>
            <a:defPPr>
              <a:defRPr lang="en-US"/>
            </a:defPPr>
            <a:lvl1pPr indent="0">
              <a:lnSpc>
                <a:spcPct val="150000"/>
              </a:lnSpc>
              <a:spcBef>
                <a:spcPts val="1200"/>
              </a:spcBef>
              <a:buClr>
                <a:schemeClr val="accent3"/>
              </a:buClr>
              <a:buSzPct val="120000"/>
              <a:buFont typeface="Arial"/>
              <a:buNone/>
              <a:defRPr>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285750" indent="-285750" algn="just">
              <a:buFont typeface="Arial" panose="020B0604020202020204" pitchFamily="34" charset="0"/>
              <a:buChar char="•"/>
            </a:pPr>
            <a:r>
              <a:rPr dirty="0"/>
              <a:t>McDonald’s digital team can create</a:t>
            </a:r>
            <a:r>
              <a:rPr lang="en-US" dirty="0"/>
              <a:t> </a:t>
            </a:r>
            <a:r>
              <a:rPr dirty="0"/>
              <a:t>personalized, contextual and real time offers to increase guest count (GC), average check  (AC), and overall e-coupon sales</a:t>
            </a:r>
          </a:p>
          <a:p>
            <a:pPr marL="285750" indent="-285750" algn="just">
              <a:buFont typeface="Arial" panose="020B0604020202020204" pitchFamily="34" charset="0"/>
              <a:buChar char="•"/>
            </a:pPr>
            <a:r>
              <a:rPr dirty="0"/>
              <a:t>Plexure supports Closed Loop Redemption offers for GMA</a:t>
            </a:r>
            <a:r>
              <a:rPr lang="en-US" dirty="0"/>
              <a:t> </a:t>
            </a:r>
            <a:r>
              <a:rPr dirty="0"/>
              <a:t>L</a:t>
            </a:r>
            <a:r>
              <a:rPr lang="en-US" dirty="0"/>
              <a:t>ite</a:t>
            </a:r>
            <a:r>
              <a:rPr dirty="0"/>
              <a:t> app</a:t>
            </a:r>
          </a:p>
          <a:p>
            <a:pPr marL="285750" indent="-285750" algn="just">
              <a:buFont typeface="Arial" panose="020B0604020202020204" pitchFamily="34" charset="0"/>
              <a:buChar char="•"/>
            </a:pPr>
            <a:r>
              <a:rPr dirty="0"/>
              <a:t>Markets will be</a:t>
            </a:r>
            <a:r>
              <a:rPr lang="en-US" dirty="0"/>
              <a:t> able</a:t>
            </a:r>
            <a:r>
              <a:rPr dirty="0"/>
              <a:t> to create day part, week part,  LTO and single use</a:t>
            </a:r>
            <a:r>
              <a:rPr lang="en-US" dirty="0"/>
              <a:t> / repeatable</a:t>
            </a:r>
            <a:r>
              <a:rPr dirty="0"/>
              <a:t> offers</a:t>
            </a:r>
            <a:r>
              <a:rPr lang="en-US" dirty="0"/>
              <a:t> as per their strategy</a:t>
            </a:r>
          </a:p>
          <a:p>
            <a:pPr marL="285750" indent="-285750" algn="just">
              <a:buFont typeface="Arial" panose="020B0604020202020204" pitchFamily="34" charset="0"/>
              <a:buChar char="•"/>
            </a:pPr>
            <a:r>
              <a:rPr lang="en-US" dirty="0"/>
              <a:t>Offer can also be personalized by including the customer name in the offer title to give it a unique experience</a:t>
            </a:r>
          </a:p>
          <a:p>
            <a:pPr marL="285750" indent="-285750" algn="just">
              <a:buFont typeface="Arial" panose="020B0604020202020204" pitchFamily="34" charset="0"/>
              <a:buChar char="•"/>
            </a:pPr>
            <a:r>
              <a:rPr lang="en-US" dirty="0"/>
              <a:t>Targeted offers can be planned</a:t>
            </a:r>
          </a:p>
        </p:txBody>
      </p:sp>
      <p:sp>
        <p:nvSpPr>
          <p:cNvPr id="8" name="object 4"/>
          <p:cNvSpPr/>
          <p:nvPr/>
        </p:nvSpPr>
        <p:spPr>
          <a:xfrm>
            <a:off x="8776996" y="1235491"/>
            <a:ext cx="2279199" cy="4588458"/>
          </a:xfrm>
          <a:prstGeom prst="rect">
            <a:avLst/>
          </a:prstGeom>
          <a:blipFill>
            <a:blip r:embed="rId3" cstate="print"/>
            <a:stretch>
              <a:fillRect/>
            </a:stretch>
          </a:blipFill>
        </p:spPr>
        <p:txBody>
          <a:bodyPr wrap="square" lIns="0" tIns="0" rIns="0" bIns="0" rtlCol="0"/>
          <a:lstStyle/>
          <a:p>
            <a:endParaRPr sz="1350"/>
          </a:p>
        </p:txBody>
      </p:sp>
      <p:sp>
        <p:nvSpPr>
          <p:cNvPr id="9" name="object 5"/>
          <p:cNvSpPr/>
          <p:nvPr/>
        </p:nvSpPr>
        <p:spPr>
          <a:xfrm>
            <a:off x="9048629" y="1854395"/>
            <a:ext cx="1735931" cy="3154680"/>
          </a:xfrm>
          <a:prstGeom prst="rect">
            <a:avLst/>
          </a:prstGeom>
          <a:blipFill>
            <a:blip r:embed="rId4" cstate="print"/>
            <a:stretch>
              <a:fillRect/>
            </a:stretch>
          </a:blipFill>
        </p:spPr>
        <p:txBody>
          <a:bodyPr wrap="square" lIns="0" tIns="0" rIns="0" bIns="0" rtlCol="0"/>
          <a:lstStyle/>
          <a:p>
            <a:endParaRPr sz="1350"/>
          </a:p>
        </p:txBody>
      </p:sp>
      <p:sp>
        <p:nvSpPr>
          <p:cNvPr id="10" name="object 2">
            <a:extLst>
              <a:ext uri="{FF2B5EF4-FFF2-40B4-BE49-F238E27FC236}">
                <a16:creationId xmlns:a16="http://schemas.microsoft.com/office/drawing/2014/main" id="{93BBF6E4-52B1-4A75-B21D-6484530B294E}"/>
              </a:ext>
            </a:extLst>
          </p:cNvPr>
          <p:cNvSpPr txBox="1">
            <a:spLocks/>
          </p:cNvSpPr>
          <p:nvPr/>
        </p:nvSpPr>
        <p:spPr>
          <a:xfrm>
            <a:off x="1005918" y="68778"/>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a:t>O</a:t>
            </a:r>
            <a:r>
              <a:rPr lang="en-US" spc="-56" dirty="0"/>
              <a:t>f</a:t>
            </a:r>
            <a:r>
              <a:rPr lang="en-US" dirty="0"/>
              <a:t>fe</a:t>
            </a:r>
            <a:r>
              <a:rPr lang="en-US" spc="4" dirty="0"/>
              <a:t>r</a:t>
            </a:r>
            <a:r>
              <a:rPr lang="en-US" dirty="0"/>
              <a:t>s Overview</a:t>
            </a:r>
          </a:p>
        </p:txBody>
      </p:sp>
    </p:spTree>
    <p:extLst>
      <p:ext uri="{BB962C8B-B14F-4D97-AF65-F5344CB8AC3E}">
        <p14:creationId xmlns:p14="http://schemas.microsoft.com/office/powerpoint/2010/main" val="13366018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0F0A45-49BE-4ACF-9083-6211024CDB88}"/>
              </a:ext>
            </a:extLst>
          </p:cNvPr>
          <p:cNvSpPr/>
          <p:nvPr/>
        </p:nvSpPr>
        <p:spPr>
          <a:xfrm>
            <a:off x="876570" y="152734"/>
            <a:ext cx="5582041"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Steps in Offer Creation (CLR)</a:t>
            </a:r>
          </a:p>
        </p:txBody>
      </p:sp>
      <p:sp>
        <p:nvSpPr>
          <p:cNvPr id="8" name="Rectangle 7">
            <a:extLst>
              <a:ext uri="{FF2B5EF4-FFF2-40B4-BE49-F238E27FC236}">
                <a16:creationId xmlns:a16="http://schemas.microsoft.com/office/drawing/2014/main" id="{CC91C896-3D48-45EA-9110-8CAB56AE31C0}"/>
              </a:ext>
            </a:extLst>
          </p:cNvPr>
          <p:cNvSpPr/>
          <p:nvPr/>
        </p:nvSpPr>
        <p:spPr>
          <a:xfrm>
            <a:off x="2616313" y="986770"/>
            <a:ext cx="8439151" cy="5632311"/>
          </a:xfrm>
          <a:prstGeom prst="rect">
            <a:avLst/>
          </a:prstGeom>
        </p:spPr>
        <p:txBody>
          <a:bodyPr wrap="square">
            <a:spAutoFit/>
          </a:bodyPr>
          <a:lstStyle/>
          <a:p>
            <a:pPr marL="342900" indent="-342900">
              <a:buFont typeface="+mj-lt"/>
              <a:buAutoNum type="arabicPeriod"/>
            </a:pPr>
            <a:r>
              <a:rPr lang="en-US" dirty="0"/>
              <a:t>Select the Campaign for the offer</a:t>
            </a:r>
          </a:p>
          <a:p>
            <a:pPr marL="342900" indent="-342900">
              <a:buFont typeface="+mj-lt"/>
              <a:buAutoNum type="arabicPeriod"/>
            </a:pPr>
            <a:endParaRPr lang="en-US" dirty="0"/>
          </a:p>
          <a:p>
            <a:pPr marL="342900" indent="-342900">
              <a:buFont typeface="+mj-lt"/>
              <a:buAutoNum type="arabicPeriod"/>
            </a:pPr>
            <a:r>
              <a:rPr lang="en-US" dirty="0"/>
              <a:t>Select </a:t>
            </a:r>
            <a:r>
              <a:rPr lang="en-US" b="1" dirty="0"/>
              <a:t>‘Short Code’ </a:t>
            </a:r>
            <a:r>
              <a:rPr lang="en-US" dirty="0"/>
              <a:t>type from the offer redemption option‘</a:t>
            </a:r>
          </a:p>
          <a:p>
            <a:pPr marL="342900" indent="-342900">
              <a:buFont typeface="+mj-lt"/>
              <a:buAutoNum type="arabicPeriod"/>
            </a:pPr>
            <a:endParaRPr lang="en-US" dirty="0"/>
          </a:p>
          <a:p>
            <a:pPr marL="342900" indent="-342900">
              <a:buFont typeface="+mj-lt"/>
              <a:buAutoNum type="arabicPeriod"/>
            </a:pPr>
            <a:r>
              <a:rPr lang="en-US" dirty="0"/>
              <a:t>Select Weighting options for order priority like base weight, consumer  targeting weight, operating condition weight &amp; Proximity weight</a:t>
            </a:r>
          </a:p>
          <a:p>
            <a:pPr marL="342900" indent="-342900">
              <a:buFont typeface="+mj-lt"/>
              <a:buAutoNum type="arabicPeriod"/>
            </a:pPr>
            <a:endParaRPr lang="en-US" dirty="0"/>
          </a:p>
          <a:p>
            <a:pPr marL="342900" indent="-342900">
              <a:buFont typeface="+mj-lt"/>
              <a:buAutoNum type="arabicPeriod"/>
            </a:pPr>
            <a:r>
              <a:rPr lang="en-US" dirty="0"/>
              <a:t>Define the Extended Template </a:t>
            </a:r>
          </a:p>
          <a:p>
            <a:pPr marL="342900" indent="-342900">
              <a:buFont typeface="+mj-lt"/>
              <a:buAutoNum type="arabicPeriod"/>
            </a:pPr>
            <a:endParaRPr lang="en-US" dirty="0"/>
          </a:p>
          <a:p>
            <a:pPr marL="342900" indent="-342900">
              <a:buFont typeface="+mj-lt"/>
              <a:buAutoNum type="arabicPeriod"/>
            </a:pPr>
            <a:r>
              <a:rPr lang="en-US" dirty="0"/>
              <a:t>Select promotional images for the offer</a:t>
            </a:r>
          </a:p>
          <a:p>
            <a:pPr marL="342900" indent="-342900">
              <a:buFont typeface="+mj-lt"/>
              <a:buAutoNum type="arabicPeriod"/>
            </a:pPr>
            <a:endParaRPr lang="en-US" dirty="0"/>
          </a:p>
          <a:p>
            <a:pPr marL="342900" indent="-342900">
              <a:buFont typeface="+mj-lt"/>
              <a:buAutoNum type="arabicPeriod"/>
            </a:pPr>
            <a:r>
              <a:rPr lang="en-US" dirty="0"/>
              <a:t>Enter title, start date, end date, time of day, description and terms of  the offer</a:t>
            </a:r>
          </a:p>
          <a:p>
            <a:pPr marL="342900" indent="-342900">
              <a:buFont typeface="+mj-lt"/>
              <a:buAutoNum type="arabicPeriod"/>
            </a:pPr>
            <a:endParaRPr lang="en-US" dirty="0"/>
          </a:p>
          <a:p>
            <a:pPr marL="342900" indent="-342900">
              <a:buFont typeface="+mj-lt"/>
              <a:buAutoNum type="arabicPeriod"/>
            </a:pPr>
            <a:r>
              <a:rPr lang="en-US" dirty="0"/>
              <a:t>Enter No Compete group if applicable</a:t>
            </a:r>
          </a:p>
          <a:p>
            <a:pPr marL="342900" indent="-342900">
              <a:buFont typeface="+mj-lt"/>
              <a:buAutoNum type="arabicPeriod"/>
            </a:pPr>
            <a:endParaRPr lang="en-US" dirty="0"/>
          </a:p>
          <a:p>
            <a:pPr marL="342900" indent="-342900">
              <a:buFont typeface="+mj-lt"/>
              <a:buAutoNum type="arabicPeriod"/>
            </a:pPr>
            <a:r>
              <a:rPr lang="en-US" dirty="0"/>
              <a:t>Select Category of the offer if applicable</a:t>
            </a:r>
          </a:p>
          <a:p>
            <a:pPr marL="342900" indent="-342900">
              <a:buFont typeface="+mj-lt"/>
              <a:buAutoNum type="arabicPeriod"/>
            </a:pPr>
            <a:endParaRPr lang="en-US" dirty="0"/>
          </a:p>
          <a:p>
            <a:pPr marL="342900" indent="-342900">
              <a:buFont typeface="+mj-lt"/>
              <a:buAutoNum type="arabicPeriod"/>
            </a:pPr>
            <a:r>
              <a:rPr lang="en-US" dirty="0"/>
              <a:t>Select targeting for the offer by using tags</a:t>
            </a:r>
          </a:p>
          <a:p>
            <a:pPr marL="342900" indent="-342900">
              <a:buFont typeface="+mj-lt"/>
              <a:buAutoNum type="arabicPeriod"/>
            </a:pPr>
            <a:endParaRPr lang="en-US" dirty="0"/>
          </a:p>
          <a:p>
            <a:pPr marL="342900" indent="-342900">
              <a:buFont typeface="+mj-lt"/>
              <a:buAutoNum type="arabicPeriod"/>
            </a:pPr>
            <a:r>
              <a:rPr lang="en-US" dirty="0"/>
              <a:t>Publish the offer</a:t>
            </a:r>
          </a:p>
        </p:txBody>
      </p:sp>
    </p:spTree>
    <p:extLst>
      <p:ext uri="{BB962C8B-B14F-4D97-AF65-F5344CB8AC3E}">
        <p14:creationId xmlns:p14="http://schemas.microsoft.com/office/powerpoint/2010/main" val="391162984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4"/>
          <p:cNvSpPr txBox="1"/>
          <p:nvPr/>
        </p:nvSpPr>
        <p:spPr>
          <a:xfrm>
            <a:off x="6574960" y="1277592"/>
            <a:ext cx="4064407" cy="5334135"/>
          </a:xfrm>
          <a:prstGeom prst="rect">
            <a:avLst/>
          </a:prstGeom>
        </p:spPr>
        <p:txBody>
          <a:bodyPr vert="horz" lIns="91440" tIns="45720" rIns="91440" bIns="45720" rtlCol="0">
            <a:normAutofit/>
          </a:bodyPr>
          <a:lstStyle>
            <a:defPPr>
              <a:defRPr lang="en-US"/>
            </a:defPPr>
            <a:lvl1pPr indent="0" algn="just">
              <a:lnSpc>
                <a:spcPct val="150000"/>
              </a:lnSpc>
              <a:spcBef>
                <a:spcPts val="1200"/>
              </a:spcBef>
              <a:buClr>
                <a:schemeClr val="accent3"/>
              </a:buClr>
              <a:buSzPct val="120000"/>
              <a:buFont typeface="Arial" panose="020B0604020202020204" pitchFamily="34" charset="0"/>
              <a:buNone/>
              <a:defRPr>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lnSpc>
                <a:spcPct val="100000"/>
              </a:lnSpc>
            </a:pPr>
            <a:r>
              <a:rPr lang="en-US" dirty="0"/>
              <a:t>1. Campaign </a:t>
            </a:r>
            <a:r>
              <a:rPr dirty="0"/>
              <a:t> - </a:t>
            </a:r>
            <a:r>
              <a:rPr lang="en-US" dirty="0"/>
              <a:t>Select the campaign from the dropdown</a:t>
            </a:r>
          </a:p>
          <a:p>
            <a:pPr>
              <a:lnSpc>
                <a:spcPct val="100000"/>
              </a:lnSpc>
            </a:pPr>
            <a:endParaRPr i="1" dirty="0"/>
          </a:p>
          <a:p>
            <a:pPr>
              <a:lnSpc>
                <a:spcPct val="100000"/>
              </a:lnSpc>
            </a:pPr>
            <a:r>
              <a:rPr lang="en-US" dirty="0"/>
              <a:t>2. Redemption Code Type – Short Code </a:t>
            </a:r>
          </a:p>
          <a:p>
            <a:pPr>
              <a:lnSpc>
                <a:spcPct val="100000"/>
              </a:lnSpc>
            </a:pPr>
            <a:r>
              <a:rPr lang="en-US" dirty="0"/>
              <a:t>Define Code Expiry Minutes </a:t>
            </a:r>
            <a:endParaRPr dirty="0"/>
          </a:p>
        </p:txBody>
      </p:sp>
      <p:sp>
        <p:nvSpPr>
          <p:cNvPr id="8" name="object 2">
            <a:extLst>
              <a:ext uri="{FF2B5EF4-FFF2-40B4-BE49-F238E27FC236}">
                <a16:creationId xmlns:a16="http://schemas.microsoft.com/office/drawing/2014/main" id="{AD930798-028D-4AE3-968D-1C10F6706FF8}"/>
              </a:ext>
            </a:extLst>
          </p:cNvPr>
          <p:cNvSpPr txBox="1">
            <a:spLocks/>
          </p:cNvSpPr>
          <p:nvPr/>
        </p:nvSpPr>
        <p:spPr>
          <a:xfrm>
            <a:off x="942108" y="0"/>
            <a:ext cx="6392487"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Plexure Offer Creation</a:t>
            </a:r>
          </a:p>
        </p:txBody>
      </p:sp>
      <p:pic>
        <p:nvPicPr>
          <p:cNvPr id="9" name="Picture 8"/>
          <p:cNvPicPr>
            <a:picLocks noChangeAspect="1"/>
          </p:cNvPicPr>
          <p:nvPr/>
        </p:nvPicPr>
        <p:blipFill>
          <a:blip r:embed="rId3"/>
          <a:stretch>
            <a:fillRect/>
          </a:stretch>
        </p:blipFill>
        <p:spPr>
          <a:xfrm>
            <a:off x="2152055" y="1274720"/>
            <a:ext cx="4231196" cy="4643111"/>
          </a:xfrm>
          <a:prstGeom prst="rect">
            <a:avLst/>
          </a:prstGeom>
        </p:spPr>
      </p:pic>
    </p:spTree>
    <p:extLst>
      <p:ext uri="{BB962C8B-B14F-4D97-AF65-F5344CB8AC3E}">
        <p14:creationId xmlns:p14="http://schemas.microsoft.com/office/powerpoint/2010/main" val="145725086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4"/>
          <p:cNvSpPr txBox="1"/>
          <p:nvPr/>
        </p:nvSpPr>
        <p:spPr>
          <a:xfrm>
            <a:off x="3647142" y="5640772"/>
            <a:ext cx="6355840" cy="639955"/>
          </a:xfrm>
          <a:prstGeom prst="rect">
            <a:avLst/>
          </a:prstGeom>
        </p:spPr>
        <p:txBody>
          <a:bodyPr vert="horz" lIns="91440" tIns="45720" rIns="91440" bIns="45720" rtlCol="0">
            <a:normAutofit/>
          </a:bodyPr>
          <a:lstStyle>
            <a:defPPr>
              <a:defRPr lang="en-US"/>
            </a:defPPr>
            <a:lvl1pPr indent="0" algn="just">
              <a:lnSpc>
                <a:spcPct val="150000"/>
              </a:lnSpc>
              <a:spcBef>
                <a:spcPts val="1200"/>
              </a:spcBef>
              <a:buClr>
                <a:schemeClr val="accent3"/>
              </a:buClr>
              <a:buSzPct val="120000"/>
              <a:buFont typeface="Arial" panose="020B0604020202020204" pitchFamily="34" charset="0"/>
              <a:buNone/>
              <a:defRPr>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lnSpc>
                <a:spcPct val="100000"/>
              </a:lnSpc>
            </a:pPr>
            <a:r>
              <a:rPr lang="en-US" dirty="0"/>
              <a:t>3. Extended data  </a:t>
            </a:r>
            <a:r>
              <a:rPr dirty="0"/>
              <a:t> - </a:t>
            </a:r>
            <a:r>
              <a:rPr lang="en-US" dirty="0"/>
              <a:t>Selection of Market Specific Template</a:t>
            </a:r>
            <a:endParaRPr i="1" dirty="0"/>
          </a:p>
        </p:txBody>
      </p:sp>
      <p:sp>
        <p:nvSpPr>
          <p:cNvPr id="11" name="object 2">
            <a:extLst>
              <a:ext uri="{FF2B5EF4-FFF2-40B4-BE49-F238E27FC236}">
                <a16:creationId xmlns:a16="http://schemas.microsoft.com/office/drawing/2014/main" id="{AD930798-028D-4AE3-968D-1C10F6706FF8}"/>
              </a:ext>
            </a:extLst>
          </p:cNvPr>
          <p:cNvSpPr txBox="1">
            <a:spLocks/>
          </p:cNvSpPr>
          <p:nvPr/>
        </p:nvSpPr>
        <p:spPr>
          <a:xfrm>
            <a:off x="960582" y="11613"/>
            <a:ext cx="6392487"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Plexure Offer Creation</a:t>
            </a:r>
          </a:p>
        </p:txBody>
      </p:sp>
      <p:pic>
        <p:nvPicPr>
          <p:cNvPr id="12" name="Picture 11"/>
          <p:cNvPicPr>
            <a:picLocks noChangeAspect="1"/>
          </p:cNvPicPr>
          <p:nvPr/>
        </p:nvPicPr>
        <p:blipFill>
          <a:blip r:embed="rId3"/>
          <a:stretch>
            <a:fillRect/>
          </a:stretch>
        </p:blipFill>
        <p:spPr>
          <a:xfrm>
            <a:off x="2392680" y="1045340"/>
            <a:ext cx="8280122" cy="4214609"/>
          </a:xfrm>
          <a:prstGeom prst="rect">
            <a:avLst/>
          </a:prstGeom>
        </p:spPr>
      </p:pic>
    </p:spTree>
    <p:extLst>
      <p:ext uri="{BB962C8B-B14F-4D97-AF65-F5344CB8AC3E}">
        <p14:creationId xmlns:p14="http://schemas.microsoft.com/office/powerpoint/2010/main" val="84218508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sp>
        <p:nvSpPr>
          <p:cNvPr id="30" name="TextBox 29"/>
          <p:cNvSpPr txBox="1"/>
          <p:nvPr/>
        </p:nvSpPr>
        <p:spPr>
          <a:xfrm>
            <a:off x="1528694" y="215934"/>
            <a:ext cx="6138309" cy="461665"/>
          </a:xfrm>
          <a:prstGeom prst="rect">
            <a:avLst/>
          </a:prstGeom>
          <a:noFill/>
        </p:spPr>
        <p:txBody>
          <a:bodyPr wrap="square" rtlCol="0">
            <a:spAutoFit/>
          </a:bodyPr>
          <a:lstStyle/>
          <a:p>
            <a:r>
              <a:rPr lang="en-US" sz="2400" b="1" dirty="0">
                <a:latin typeface="Open Sans"/>
                <a:cs typeface="Open Sans"/>
              </a:rPr>
              <a:t>Agenda</a:t>
            </a:r>
          </a:p>
        </p:txBody>
      </p:sp>
      <p:cxnSp>
        <p:nvCxnSpPr>
          <p:cNvPr id="7" name="Straight Connector 6">
            <a:extLst>
              <a:ext uri="{FF2B5EF4-FFF2-40B4-BE49-F238E27FC236}">
                <a16:creationId xmlns:a16="http://schemas.microsoft.com/office/drawing/2014/main" id="{44AA246F-502C-4D91-9E9E-2051310F29E8}"/>
              </a:ext>
            </a:extLst>
          </p:cNvPr>
          <p:cNvCxnSpPr>
            <a:cxnSpLocks/>
            <a:stCxn id="17" idx="4"/>
            <a:endCxn id="8" idx="0"/>
          </p:cNvCxnSpPr>
          <p:nvPr/>
        </p:nvCxnSpPr>
        <p:spPr>
          <a:xfrm flipH="1" flipV="1">
            <a:off x="4572000" y="1337310"/>
            <a:ext cx="19060" cy="4753494"/>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1F9FA48-C90B-4FA4-AFE4-83DB205B3E89}"/>
              </a:ext>
            </a:extLst>
          </p:cNvPr>
          <p:cNvSpPr/>
          <p:nvPr/>
        </p:nvSpPr>
        <p:spPr>
          <a:xfrm>
            <a:off x="4469130" y="1337310"/>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Oval 8">
            <a:extLst>
              <a:ext uri="{FF2B5EF4-FFF2-40B4-BE49-F238E27FC236}">
                <a16:creationId xmlns:a16="http://schemas.microsoft.com/office/drawing/2014/main" id="{6E023BC6-A4D0-46B6-B448-8D870222E38A}"/>
              </a:ext>
            </a:extLst>
          </p:cNvPr>
          <p:cNvSpPr/>
          <p:nvPr/>
        </p:nvSpPr>
        <p:spPr>
          <a:xfrm>
            <a:off x="4469130" y="2071949"/>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Oval 9">
            <a:extLst>
              <a:ext uri="{FF2B5EF4-FFF2-40B4-BE49-F238E27FC236}">
                <a16:creationId xmlns:a16="http://schemas.microsoft.com/office/drawing/2014/main" id="{AEE3D562-594A-4F8D-A6ED-50B03AE15BC7}"/>
              </a:ext>
            </a:extLst>
          </p:cNvPr>
          <p:cNvSpPr/>
          <p:nvPr/>
        </p:nvSpPr>
        <p:spPr>
          <a:xfrm>
            <a:off x="4472929" y="3520787"/>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Oval 10">
            <a:extLst>
              <a:ext uri="{FF2B5EF4-FFF2-40B4-BE49-F238E27FC236}">
                <a16:creationId xmlns:a16="http://schemas.microsoft.com/office/drawing/2014/main" id="{C23338CF-69FB-4810-AD47-44E74CBEBAFA}"/>
              </a:ext>
            </a:extLst>
          </p:cNvPr>
          <p:cNvSpPr/>
          <p:nvPr/>
        </p:nvSpPr>
        <p:spPr>
          <a:xfrm>
            <a:off x="4454880" y="4316731"/>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Oval 11">
            <a:extLst>
              <a:ext uri="{FF2B5EF4-FFF2-40B4-BE49-F238E27FC236}">
                <a16:creationId xmlns:a16="http://schemas.microsoft.com/office/drawing/2014/main" id="{2EC1000C-A023-47E9-8423-2CE4A98C48B3}"/>
              </a:ext>
            </a:extLst>
          </p:cNvPr>
          <p:cNvSpPr/>
          <p:nvPr/>
        </p:nvSpPr>
        <p:spPr>
          <a:xfrm>
            <a:off x="4469129" y="2796368"/>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Oval 12">
            <a:extLst>
              <a:ext uri="{FF2B5EF4-FFF2-40B4-BE49-F238E27FC236}">
                <a16:creationId xmlns:a16="http://schemas.microsoft.com/office/drawing/2014/main" id="{6E023BC6-A4D0-46B6-B448-8D870222E38A}"/>
              </a:ext>
            </a:extLst>
          </p:cNvPr>
          <p:cNvSpPr/>
          <p:nvPr/>
        </p:nvSpPr>
        <p:spPr>
          <a:xfrm>
            <a:off x="4472929" y="5089120"/>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4" name="Rectangle 13"/>
          <p:cNvSpPr/>
          <p:nvPr/>
        </p:nvSpPr>
        <p:spPr>
          <a:xfrm>
            <a:off x="4919880" y="2796368"/>
            <a:ext cx="2706190"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a:latin typeface="Open Sans "/>
                <a:ea typeface="ＭＳ Ｐゴシック" charset="-128"/>
                <a:cs typeface="Open Sans "/>
              </a:rPr>
              <a:t>Offers Management Module</a:t>
            </a:r>
          </a:p>
        </p:txBody>
      </p:sp>
      <p:sp>
        <p:nvSpPr>
          <p:cNvPr id="17" name="Oval 16">
            <a:extLst>
              <a:ext uri="{FF2B5EF4-FFF2-40B4-BE49-F238E27FC236}">
                <a16:creationId xmlns:a16="http://schemas.microsoft.com/office/drawing/2014/main" id="{6E023BC6-A4D0-46B6-B448-8D870222E38A}"/>
              </a:ext>
            </a:extLst>
          </p:cNvPr>
          <p:cNvSpPr/>
          <p:nvPr/>
        </p:nvSpPr>
        <p:spPr>
          <a:xfrm>
            <a:off x="4488190" y="5885064"/>
            <a:ext cx="205740" cy="20574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lnSpc>
                <a:spcPct val="160000"/>
              </a:lnSpc>
              <a:buFont typeface="Arial" panose="020B0604020202020204" pitchFamily="34" charset="0"/>
              <a:buChar char="•"/>
            </a:pPr>
            <a:r>
              <a:rPr lang="en-US" sz="1050" dirty="0"/>
              <a:t>Questions</a:t>
            </a:r>
          </a:p>
        </p:txBody>
      </p:sp>
      <p:sp>
        <p:nvSpPr>
          <p:cNvPr id="18" name="Rectangle 17"/>
          <p:cNvSpPr/>
          <p:nvPr/>
        </p:nvSpPr>
        <p:spPr>
          <a:xfrm>
            <a:off x="4919880" y="5730868"/>
            <a:ext cx="1124026" cy="413126"/>
          </a:xfrm>
          <a:prstGeom prst="rect">
            <a:avLst/>
          </a:prstGeom>
        </p:spPr>
        <p:txBody>
          <a:bodyPr wrap="none">
            <a:spAutoFit/>
          </a:bodyPr>
          <a:lstStyle/>
          <a:p>
            <a:pPr>
              <a:lnSpc>
                <a:spcPct val="160000"/>
              </a:lnSpc>
            </a:pPr>
            <a:r>
              <a:rPr lang="en-US" sz="1500" b="1" dirty="0">
                <a:latin typeface="Open Sans "/>
                <a:ea typeface="ＭＳ Ｐゴシック" charset="-128"/>
                <a:cs typeface="Open Sans "/>
              </a:rPr>
              <a:t>Questions</a:t>
            </a:r>
          </a:p>
        </p:txBody>
      </p:sp>
      <p:sp>
        <p:nvSpPr>
          <p:cNvPr id="21" name="Rectangle 20"/>
          <p:cNvSpPr/>
          <p:nvPr/>
        </p:nvSpPr>
        <p:spPr>
          <a:xfrm>
            <a:off x="4898727" y="1332383"/>
            <a:ext cx="1789272"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err="1">
                <a:latin typeface="Open Sans "/>
                <a:ea typeface="ＭＳ Ｐゴシック" charset="-128"/>
                <a:cs typeface="Open Sans "/>
              </a:rPr>
              <a:t>Plexure</a:t>
            </a:r>
            <a:r>
              <a:rPr lang="en-US" sz="1500" b="1" dirty="0">
                <a:latin typeface="Open Sans "/>
                <a:ea typeface="ＭＳ Ｐゴシック" charset="-128"/>
                <a:cs typeface="Open Sans "/>
              </a:rPr>
              <a:t> Overview</a:t>
            </a:r>
          </a:p>
        </p:txBody>
      </p:sp>
      <p:sp>
        <p:nvSpPr>
          <p:cNvPr id="22" name="Rectangle 21"/>
          <p:cNvSpPr/>
          <p:nvPr/>
        </p:nvSpPr>
        <p:spPr>
          <a:xfrm>
            <a:off x="4898727" y="3505013"/>
            <a:ext cx="2300630"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a:latin typeface="Open Sans "/>
                <a:ea typeface="ＭＳ Ｐゴシック" charset="-128"/>
                <a:cs typeface="Open Sans "/>
              </a:rPr>
              <a:t>Advertisement Module</a:t>
            </a:r>
          </a:p>
        </p:txBody>
      </p:sp>
      <p:sp>
        <p:nvSpPr>
          <p:cNvPr id="23" name="Rectangle 22"/>
          <p:cNvSpPr/>
          <p:nvPr/>
        </p:nvSpPr>
        <p:spPr>
          <a:xfrm>
            <a:off x="4919880" y="5041949"/>
            <a:ext cx="2577950"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a:latin typeface="Open Sans "/>
                <a:ea typeface="ＭＳ Ｐゴシック" charset="-128"/>
                <a:cs typeface="Open Sans "/>
              </a:rPr>
              <a:t>Market Engine Live Demo </a:t>
            </a:r>
          </a:p>
        </p:txBody>
      </p:sp>
      <p:sp>
        <p:nvSpPr>
          <p:cNvPr id="24" name="Rectangle 23"/>
          <p:cNvSpPr/>
          <p:nvPr/>
        </p:nvSpPr>
        <p:spPr>
          <a:xfrm>
            <a:off x="4898727" y="4262792"/>
            <a:ext cx="2246128"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a:latin typeface="Open Sans "/>
                <a:ea typeface="ＭＳ Ｐゴシック" charset="-128"/>
                <a:cs typeface="Open Sans "/>
              </a:rPr>
              <a:t>Push Message Module</a:t>
            </a:r>
          </a:p>
        </p:txBody>
      </p:sp>
      <p:sp>
        <p:nvSpPr>
          <p:cNvPr id="25" name="Rectangle 24"/>
          <p:cNvSpPr/>
          <p:nvPr/>
        </p:nvSpPr>
        <p:spPr>
          <a:xfrm>
            <a:off x="4898727" y="2041028"/>
            <a:ext cx="2568332" cy="300082"/>
          </a:xfrm>
          <a:prstGeom prst="rect">
            <a:avLst/>
          </a:prstGeom>
        </p:spPr>
        <p:txBody>
          <a:bodyPr wrap="none">
            <a:spAutoFit/>
          </a:bodyPr>
          <a:lstStyle/>
          <a:p>
            <a:pPr defTabSz="685388" eaLnBrk="0" fontAlgn="base" hangingPunct="0">
              <a:lnSpc>
                <a:spcPct val="90000"/>
              </a:lnSpc>
              <a:spcBef>
                <a:spcPts val="450"/>
              </a:spcBef>
              <a:spcAft>
                <a:spcPct val="0"/>
              </a:spcAft>
              <a:buFont typeface="Arial" panose="020B0604020202020204" pitchFamily="34" charset="0"/>
            </a:pPr>
            <a:r>
              <a:rPr lang="en-US" sz="1500" b="1" dirty="0">
                <a:latin typeface="Open Sans "/>
                <a:ea typeface="ＭＳ Ｐゴシック" charset="-128"/>
                <a:cs typeface="Open Sans "/>
              </a:rPr>
              <a:t>User Management Module</a:t>
            </a:r>
          </a:p>
        </p:txBody>
      </p:sp>
    </p:spTree>
    <p:extLst>
      <p:ext uri="{BB962C8B-B14F-4D97-AF65-F5344CB8AC3E}">
        <p14:creationId xmlns:p14="http://schemas.microsoft.com/office/powerpoint/2010/main" val="270570576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4"/>
          <p:cNvSpPr txBox="1"/>
          <p:nvPr/>
        </p:nvSpPr>
        <p:spPr>
          <a:xfrm>
            <a:off x="6775682" y="1205068"/>
            <a:ext cx="5129991" cy="5334135"/>
          </a:xfrm>
          <a:prstGeom prst="rect">
            <a:avLst/>
          </a:prstGeom>
        </p:spPr>
        <p:txBody>
          <a:bodyPr vert="horz" lIns="91440" tIns="45720" rIns="91440" bIns="45720" rtlCol="0">
            <a:normAutofit/>
          </a:bodyPr>
          <a:lstStyle>
            <a:defPPr>
              <a:defRPr lang="en-US"/>
            </a:defPPr>
            <a:lvl1pPr indent="0" algn="just">
              <a:lnSpc>
                <a:spcPct val="150000"/>
              </a:lnSpc>
              <a:spcBef>
                <a:spcPts val="1200"/>
              </a:spcBef>
              <a:buClr>
                <a:schemeClr val="accent3"/>
              </a:buClr>
              <a:buSzPct val="120000"/>
              <a:buFont typeface="Arial" panose="020B0604020202020204" pitchFamily="34" charset="0"/>
              <a:buNone/>
              <a:defRPr>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lnSpc>
                <a:spcPct val="100000"/>
              </a:lnSpc>
            </a:pPr>
            <a:r>
              <a:rPr lang="en-US" dirty="0"/>
              <a:t>4. </a:t>
            </a:r>
            <a:r>
              <a:rPr dirty="0"/>
              <a:t>Weighting - Weight determines order priority of the offer  on the offer list. The higher the weight, the higher its order  on the offer list</a:t>
            </a:r>
          </a:p>
          <a:p>
            <a:pPr>
              <a:lnSpc>
                <a:spcPct val="100000"/>
              </a:lnSpc>
            </a:pPr>
            <a:r>
              <a:rPr i="1" dirty="0"/>
              <a:t>Base Weight – Input a base weight for the offer to control  order</a:t>
            </a:r>
          </a:p>
          <a:p>
            <a:pPr>
              <a:lnSpc>
                <a:spcPct val="100000"/>
              </a:lnSpc>
            </a:pPr>
            <a:r>
              <a:rPr i="1" dirty="0"/>
              <a:t>Consumer tag weight - Weight can be modified depending  on segmentation. If you want the offer to be displayed  higher in the list to a particular type of customers, select  relevant tags or segments here</a:t>
            </a:r>
            <a:endParaRPr lang="en-US" i="1" dirty="0"/>
          </a:p>
          <a:p>
            <a:pPr>
              <a:lnSpc>
                <a:spcPct val="100000"/>
              </a:lnSpc>
            </a:pPr>
            <a:endParaRPr i="1" dirty="0"/>
          </a:p>
          <a:p>
            <a:pPr>
              <a:lnSpc>
                <a:spcPct val="100000"/>
              </a:lnSpc>
            </a:pPr>
            <a:r>
              <a:rPr lang="en-US" dirty="0"/>
              <a:t>5. </a:t>
            </a:r>
            <a:r>
              <a:rPr dirty="0"/>
              <a:t>Please select the image for the offer</a:t>
            </a:r>
          </a:p>
          <a:p>
            <a:pPr>
              <a:lnSpc>
                <a:spcPct val="100000"/>
              </a:lnSpc>
            </a:pPr>
            <a:r>
              <a:rPr i="1" dirty="0"/>
              <a:t>The image spec configured for McDonald’s GMAL app is</a:t>
            </a:r>
            <a:r>
              <a:rPr lang="en-US" i="1" dirty="0"/>
              <a:t> </a:t>
            </a:r>
            <a:r>
              <a:rPr i="1" dirty="0"/>
              <a:t>1200 x 1200 px</a:t>
            </a:r>
          </a:p>
        </p:txBody>
      </p:sp>
      <p:sp>
        <p:nvSpPr>
          <p:cNvPr id="8" name="object 2">
            <a:extLst>
              <a:ext uri="{FF2B5EF4-FFF2-40B4-BE49-F238E27FC236}">
                <a16:creationId xmlns:a16="http://schemas.microsoft.com/office/drawing/2014/main" id="{AD930798-028D-4AE3-968D-1C10F6706FF8}"/>
              </a:ext>
            </a:extLst>
          </p:cNvPr>
          <p:cNvSpPr txBox="1">
            <a:spLocks/>
          </p:cNvSpPr>
          <p:nvPr/>
        </p:nvSpPr>
        <p:spPr>
          <a:xfrm>
            <a:off x="1015999" y="37291"/>
            <a:ext cx="6392487"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Plexure Offer Creation</a:t>
            </a:r>
          </a:p>
        </p:txBody>
      </p:sp>
      <p:pic>
        <p:nvPicPr>
          <p:cNvPr id="9" name="Picture 8"/>
          <p:cNvPicPr>
            <a:picLocks noChangeAspect="1"/>
          </p:cNvPicPr>
          <p:nvPr/>
        </p:nvPicPr>
        <p:blipFill>
          <a:blip r:embed="rId3"/>
          <a:stretch>
            <a:fillRect/>
          </a:stretch>
        </p:blipFill>
        <p:spPr>
          <a:xfrm>
            <a:off x="1576646" y="1205068"/>
            <a:ext cx="4639426" cy="2229345"/>
          </a:xfrm>
          <a:prstGeom prst="rect">
            <a:avLst/>
          </a:prstGeom>
        </p:spPr>
      </p:pic>
      <p:pic>
        <p:nvPicPr>
          <p:cNvPr id="10" name="Picture 9"/>
          <p:cNvPicPr>
            <a:picLocks noChangeAspect="1"/>
          </p:cNvPicPr>
          <p:nvPr/>
        </p:nvPicPr>
        <p:blipFill>
          <a:blip r:embed="rId4"/>
          <a:stretch>
            <a:fillRect/>
          </a:stretch>
        </p:blipFill>
        <p:spPr>
          <a:xfrm>
            <a:off x="1576646" y="3624136"/>
            <a:ext cx="4639425" cy="2850673"/>
          </a:xfrm>
          <a:prstGeom prst="rect">
            <a:avLst/>
          </a:prstGeom>
        </p:spPr>
      </p:pic>
    </p:spTree>
    <p:extLst>
      <p:ext uri="{BB962C8B-B14F-4D97-AF65-F5344CB8AC3E}">
        <p14:creationId xmlns:p14="http://schemas.microsoft.com/office/powerpoint/2010/main" val="215775003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4"/>
          <p:cNvSpPr txBox="1"/>
          <p:nvPr/>
        </p:nvSpPr>
        <p:spPr>
          <a:xfrm>
            <a:off x="6661515" y="1626889"/>
            <a:ext cx="3402112" cy="3687759"/>
          </a:xfrm>
          <a:prstGeom prst="rect">
            <a:avLst/>
          </a:prstGeom>
        </p:spPr>
        <p:txBody>
          <a:bodyPr vert="horz" lIns="91440" tIns="45720" rIns="91440" bIns="45720" rtlCol="0">
            <a:normAutofit/>
          </a:bodyPr>
          <a:lstStyle>
            <a:defPPr>
              <a:defRPr lang="en-US"/>
            </a:defPPr>
            <a:lvl1pPr indent="0" algn="just">
              <a:lnSpc>
                <a:spcPct val="100000"/>
              </a:lnSpc>
              <a:spcBef>
                <a:spcPts val="1200"/>
              </a:spcBef>
              <a:buClr>
                <a:schemeClr val="accent3"/>
              </a:buClr>
              <a:buSzPct val="120000"/>
              <a:buFont typeface="Arial" panose="020B0604020202020204" pitchFamily="34" charset="0"/>
              <a:buNone/>
              <a:defRPr sz="1600">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sz="1800" dirty="0"/>
              <a:t>6. Select basic details, offer time</a:t>
            </a:r>
          </a:p>
          <a:p>
            <a:endParaRPr lang="en-US" sz="1800" dirty="0"/>
          </a:p>
          <a:p>
            <a:r>
              <a:rPr lang="en-US" sz="1800" dirty="0"/>
              <a:t>7. Select category of the  offer as per the marketing  objective</a:t>
            </a:r>
          </a:p>
          <a:p>
            <a:endParaRPr lang="en-US" sz="1800" dirty="0"/>
          </a:p>
          <a:p>
            <a:r>
              <a:rPr lang="en-US" sz="1800" dirty="0"/>
              <a:t>8. Add Description and Terms &amp; conditions of deals </a:t>
            </a:r>
          </a:p>
          <a:p>
            <a:endParaRPr sz="1800" dirty="0"/>
          </a:p>
        </p:txBody>
      </p:sp>
      <p:sp>
        <p:nvSpPr>
          <p:cNvPr id="11" name="object 2">
            <a:extLst>
              <a:ext uri="{FF2B5EF4-FFF2-40B4-BE49-F238E27FC236}">
                <a16:creationId xmlns:a16="http://schemas.microsoft.com/office/drawing/2014/main" id="{8FEA18CB-E605-4236-BFD9-CAA39F56C67D}"/>
              </a:ext>
            </a:extLst>
          </p:cNvPr>
          <p:cNvSpPr txBox="1">
            <a:spLocks/>
          </p:cNvSpPr>
          <p:nvPr/>
        </p:nvSpPr>
        <p:spPr>
          <a:xfrm>
            <a:off x="1162605" y="0"/>
            <a:ext cx="4517760" cy="456920"/>
          </a:xfrm>
          <a:prstGeom prst="rect">
            <a:avLst/>
          </a:prstGeom>
        </p:spPr>
        <p:txBody>
          <a:bodyPr vert="horz" wrap="square" lIns="0" tIns="0" rIns="0" bIns="0" rtlCol="0" anchor="ctr">
            <a:spAutoFit/>
          </a:bodyPr>
          <a:lstStyle>
            <a:lvl1pPr algn="l" defTabSz="685629" rtl="0" eaLnBrk="1" latinLnBrk="0" hangingPunct="1">
              <a:lnSpc>
                <a:spcPct val="90000"/>
              </a:lnSpc>
              <a:spcBef>
                <a:spcPct val="0"/>
              </a:spcBef>
              <a:buNone/>
              <a:defRPr sz="3299" kern="1200">
                <a:solidFill>
                  <a:schemeClr val="tx1"/>
                </a:solidFill>
                <a:latin typeface="+mj-lt"/>
                <a:ea typeface="+mj-ea"/>
                <a:cs typeface="+mj-cs"/>
              </a:defRPr>
            </a:lvl1pPr>
          </a:lstStyle>
          <a:p>
            <a:pPr marL="9525">
              <a:tabLst>
                <a:tab pos="5171123" algn="l"/>
              </a:tabLst>
            </a:pPr>
            <a:r>
              <a:rPr lang="en-US" b="1" spc="-4" dirty="0"/>
              <a:t> </a:t>
            </a:r>
            <a:r>
              <a:rPr lang="en-US" sz="2800" b="1" spc="-4" dirty="0" err="1"/>
              <a:t>Plexure</a:t>
            </a:r>
            <a:r>
              <a:rPr lang="en-US" sz="2800" b="1" spc="-4" dirty="0"/>
              <a:t> Offer Creation</a:t>
            </a:r>
          </a:p>
        </p:txBody>
      </p:sp>
      <p:pic>
        <p:nvPicPr>
          <p:cNvPr id="12" name="Picture 11">
            <a:extLst>
              <a:ext uri="{FF2B5EF4-FFF2-40B4-BE49-F238E27FC236}">
                <a16:creationId xmlns:a16="http://schemas.microsoft.com/office/drawing/2014/main" id="{54F667ED-302E-4DF2-88F7-94A1F9606FE6}"/>
              </a:ext>
            </a:extLst>
          </p:cNvPr>
          <p:cNvPicPr>
            <a:picLocks noChangeAspect="1"/>
          </p:cNvPicPr>
          <p:nvPr/>
        </p:nvPicPr>
        <p:blipFill>
          <a:blip r:embed="rId3"/>
          <a:stretch>
            <a:fillRect/>
          </a:stretch>
        </p:blipFill>
        <p:spPr>
          <a:xfrm>
            <a:off x="5260366" y="1478793"/>
            <a:ext cx="1355058" cy="2257699"/>
          </a:xfrm>
          <a:prstGeom prst="rect">
            <a:avLst/>
          </a:prstGeom>
        </p:spPr>
      </p:pic>
      <p:pic>
        <p:nvPicPr>
          <p:cNvPr id="13" name="Picture 12">
            <a:extLst>
              <a:ext uri="{FF2B5EF4-FFF2-40B4-BE49-F238E27FC236}">
                <a16:creationId xmlns:a16="http://schemas.microsoft.com/office/drawing/2014/main" id="{FCF8F569-6FCC-4984-88A3-C82D7092BC75}"/>
              </a:ext>
            </a:extLst>
          </p:cNvPr>
          <p:cNvPicPr>
            <a:picLocks noChangeAspect="1"/>
          </p:cNvPicPr>
          <p:nvPr/>
        </p:nvPicPr>
        <p:blipFill>
          <a:blip r:embed="rId4"/>
          <a:stretch>
            <a:fillRect/>
          </a:stretch>
        </p:blipFill>
        <p:spPr>
          <a:xfrm>
            <a:off x="5260366" y="3963665"/>
            <a:ext cx="1355058" cy="2453112"/>
          </a:xfrm>
          <a:prstGeom prst="rect">
            <a:avLst/>
          </a:prstGeom>
        </p:spPr>
      </p:pic>
      <p:pic>
        <p:nvPicPr>
          <p:cNvPr id="14" name="Picture 13"/>
          <p:cNvPicPr>
            <a:picLocks noChangeAspect="1"/>
          </p:cNvPicPr>
          <p:nvPr/>
        </p:nvPicPr>
        <p:blipFill>
          <a:blip r:embed="rId5"/>
          <a:stretch>
            <a:fillRect/>
          </a:stretch>
        </p:blipFill>
        <p:spPr>
          <a:xfrm>
            <a:off x="1481138" y="1471441"/>
            <a:ext cx="3545291" cy="5019901"/>
          </a:xfrm>
          <a:prstGeom prst="rect">
            <a:avLst/>
          </a:prstGeom>
        </p:spPr>
      </p:pic>
    </p:spTree>
    <p:extLst>
      <p:ext uri="{BB962C8B-B14F-4D97-AF65-F5344CB8AC3E}">
        <p14:creationId xmlns:p14="http://schemas.microsoft.com/office/powerpoint/2010/main" val="151069299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4"/>
          <p:cNvSpPr txBox="1"/>
          <p:nvPr/>
        </p:nvSpPr>
        <p:spPr>
          <a:xfrm>
            <a:off x="7544885" y="1212280"/>
            <a:ext cx="4397733" cy="5394960"/>
          </a:xfrm>
          <a:prstGeom prst="rect">
            <a:avLst/>
          </a:prstGeom>
        </p:spPr>
        <p:txBody>
          <a:bodyPr vert="horz" lIns="91440" tIns="45720" rIns="91440" bIns="45720" rtlCol="0">
            <a:normAutofit/>
          </a:bodyPr>
          <a:lstStyle>
            <a:defPPr>
              <a:defRPr lang="en-US"/>
            </a:defPPr>
            <a:lvl1pPr marL="342900" indent="-342900" algn="just">
              <a:lnSpc>
                <a:spcPct val="100000"/>
              </a:lnSpc>
              <a:spcBef>
                <a:spcPts val="1200"/>
              </a:spcBef>
              <a:buClr>
                <a:schemeClr val="accent3"/>
              </a:buClr>
              <a:buSzPct val="120000"/>
              <a:buFont typeface="+mj-lt"/>
              <a:buAutoNum type="arabicPeriod" startAt="5"/>
              <a:defRPr sz="1600">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buNone/>
            </a:pPr>
            <a:r>
              <a:rPr lang="en-US" sz="1800" dirty="0"/>
              <a:t>9. </a:t>
            </a:r>
            <a:r>
              <a:rPr sz="1800" dirty="0"/>
              <a:t>Please select the tags in order to  make the offer available for a specific  customer profile (segmentation), app  usage behavior or device specific  properties</a:t>
            </a:r>
          </a:p>
          <a:p>
            <a:pPr marL="0" indent="0">
              <a:buNone/>
            </a:pPr>
            <a:r>
              <a:rPr sz="1800" dirty="0"/>
              <a:t>Offer is shown only to consumers who  fit the consumer targeting tags in the  “Current Reach” box. The app is  configured to only show content from  the merchant (country) selected by the  customers</a:t>
            </a:r>
          </a:p>
          <a:p>
            <a:pPr marL="0" indent="0">
              <a:buNone/>
            </a:pPr>
            <a:r>
              <a:rPr sz="1800" dirty="0"/>
              <a:t>Use operating condition tags to show  offer only when a particular weather  condition has been met in the  customer’s location</a:t>
            </a:r>
          </a:p>
        </p:txBody>
      </p:sp>
      <p:sp>
        <p:nvSpPr>
          <p:cNvPr id="8" name="object 6"/>
          <p:cNvSpPr txBox="1"/>
          <p:nvPr/>
        </p:nvSpPr>
        <p:spPr>
          <a:xfrm>
            <a:off x="2107128" y="1501803"/>
            <a:ext cx="86201" cy="144335"/>
          </a:xfrm>
          <a:prstGeom prst="rect">
            <a:avLst/>
          </a:prstGeom>
        </p:spPr>
        <p:txBody>
          <a:bodyPr vert="horz" wrap="square" lIns="0" tIns="0" rIns="0" bIns="0" rtlCol="0">
            <a:spAutoFit/>
          </a:bodyPr>
          <a:lstStyle/>
          <a:p>
            <a:pPr marL="9525"/>
            <a:endParaRPr sz="938" dirty="0">
              <a:latin typeface="Arial"/>
              <a:cs typeface="Arial"/>
            </a:endParaRPr>
          </a:p>
        </p:txBody>
      </p:sp>
      <p:sp>
        <p:nvSpPr>
          <p:cNvPr id="9" name="object 2">
            <a:extLst>
              <a:ext uri="{FF2B5EF4-FFF2-40B4-BE49-F238E27FC236}">
                <a16:creationId xmlns:a16="http://schemas.microsoft.com/office/drawing/2014/main" id="{AD060CEA-BF60-4076-8182-F6A4B2919118}"/>
              </a:ext>
            </a:extLst>
          </p:cNvPr>
          <p:cNvSpPr txBox="1">
            <a:spLocks/>
          </p:cNvSpPr>
          <p:nvPr/>
        </p:nvSpPr>
        <p:spPr>
          <a:xfrm>
            <a:off x="1257739" y="19755"/>
            <a:ext cx="6192982"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err="1">
                <a:latin typeface="+mj-lt"/>
                <a:ea typeface="+mj-ea"/>
                <a:cs typeface="+mj-cs"/>
              </a:rPr>
              <a:t>Plexure</a:t>
            </a:r>
            <a:r>
              <a:rPr lang="en-US" sz="3299" dirty="0">
                <a:latin typeface="+mj-lt"/>
                <a:ea typeface="+mj-ea"/>
                <a:cs typeface="+mj-cs"/>
              </a:rPr>
              <a:t> Offer Creation</a:t>
            </a:r>
          </a:p>
        </p:txBody>
      </p:sp>
      <p:pic>
        <p:nvPicPr>
          <p:cNvPr id="10" name="Picture 9"/>
          <p:cNvPicPr>
            <a:picLocks noChangeAspect="1"/>
          </p:cNvPicPr>
          <p:nvPr/>
        </p:nvPicPr>
        <p:blipFill>
          <a:blip r:embed="rId3"/>
          <a:stretch>
            <a:fillRect/>
          </a:stretch>
        </p:blipFill>
        <p:spPr>
          <a:xfrm>
            <a:off x="1643941" y="1212280"/>
            <a:ext cx="5431114" cy="5197935"/>
          </a:xfrm>
          <a:prstGeom prst="rect">
            <a:avLst/>
          </a:prstGeom>
        </p:spPr>
      </p:pic>
    </p:spTree>
    <p:extLst>
      <p:ext uri="{BB962C8B-B14F-4D97-AF65-F5344CB8AC3E}">
        <p14:creationId xmlns:p14="http://schemas.microsoft.com/office/powerpoint/2010/main" val="25057931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p:cNvSpPr txBox="1"/>
          <p:nvPr/>
        </p:nvSpPr>
        <p:spPr>
          <a:xfrm>
            <a:off x="7278254" y="1376459"/>
            <a:ext cx="4863869" cy="4865608"/>
          </a:xfrm>
          <a:prstGeom prst="rect">
            <a:avLst/>
          </a:prstGeom>
        </p:spPr>
        <p:txBody>
          <a:bodyPr vert="horz" lIns="91440" tIns="45720" rIns="91440" bIns="45720" rtlCol="0">
            <a:normAutofit/>
          </a:bodyPr>
          <a:lstStyle>
            <a:defPPr>
              <a:defRPr lang="en-US"/>
            </a:defPPr>
            <a:lvl1pPr marL="342900" indent="-342900" algn="just">
              <a:lnSpc>
                <a:spcPct val="100000"/>
              </a:lnSpc>
              <a:spcBef>
                <a:spcPts val="1200"/>
              </a:spcBef>
              <a:buClr>
                <a:schemeClr val="accent3"/>
              </a:buClr>
              <a:buSzPct val="120000"/>
              <a:buFont typeface="+mj-lt"/>
              <a:buAutoNum type="arabicPeriod" startAt="8"/>
              <a:defRPr sz="1600">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buFont typeface="+mj-lt"/>
              <a:buAutoNum type="arabicPeriod" startAt="9"/>
            </a:pPr>
            <a:r>
              <a:rPr sz="1800" dirty="0"/>
              <a:t>Press Publish to make the</a:t>
            </a:r>
            <a:r>
              <a:rPr lang="en-US" sz="1800" dirty="0"/>
              <a:t> </a:t>
            </a:r>
            <a:r>
              <a:rPr sz="1800" dirty="0"/>
              <a:t>offer ‘Live’ or Save as Draft  button to save the offer in a  draft state for making further  changes at a later time</a:t>
            </a:r>
          </a:p>
          <a:p>
            <a:pPr>
              <a:buAutoNum type="arabicPeriod" startAt="9"/>
            </a:pPr>
            <a:endParaRPr sz="1800" dirty="0"/>
          </a:p>
          <a:p>
            <a:pPr marL="0" indent="0">
              <a:buNone/>
            </a:pPr>
            <a:r>
              <a:rPr sz="1800" dirty="0"/>
              <a:t>Once published, please use  time filters and end date  settings if you want the offer  to end. If a offer is published,  it cannot be put back into a  draft state</a:t>
            </a:r>
          </a:p>
        </p:txBody>
      </p:sp>
      <p:grpSp>
        <p:nvGrpSpPr>
          <p:cNvPr id="11" name="Group 10"/>
          <p:cNvGrpSpPr/>
          <p:nvPr/>
        </p:nvGrpSpPr>
        <p:grpSpPr>
          <a:xfrm>
            <a:off x="1371392" y="1215800"/>
            <a:ext cx="5574353" cy="5026267"/>
            <a:chOff x="787078" y="2357579"/>
            <a:chExt cx="4743716" cy="2908316"/>
          </a:xfrm>
        </p:grpSpPr>
        <p:sp>
          <p:nvSpPr>
            <p:cNvPr id="12" name="object 4"/>
            <p:cNvSpPr/>
            <p:nvPr/>
          </p:nvSpPr>
          <p:spPr>
            <a:xfrm>
              <a:off x="787078" y="2357579"/>
              <a:ext cx="4743716" cy="2908316"/>
            </a:xfrm>
            <a:prstGeom prst="rect">
              <a:avLst/>
            </a:prstGeom>
            <a:blipFill>
              <a:blip r:embed="rId3" cstate="print"/>
              <a:stretch>
                <a:fillRect/>
              </a:stretch>
            </a:blipFill>
          </p:spPr>
          <p:txBody>
            <a:bodyPr wrap="square" lIns="0" tIns="0" rIns="0" bIns="0" rtlCol="0"/>
            <a:lstStyle/>
            <a:p>
              <a:endParaRPr sz="1350"/>
            </a:p>
          </p:txBody>
        </p:sp>
        <p:sp>
          <p:nvSpPr>
            <p:cNvPr id="13" name="object 6"/>
            <p:cNvSpPr txBox="1"/>
            <p:nvPr/>
          </p:nvSpPr>
          <p:spPr>
            <a:xfrm>
              <a:off x="2046695" y="4997500"/>
              <a:ext cx="96562" cy="86099"/>
            </a:xfrm>
            <a:prstGeom prst="rect">
              <a:avLst/>
            </a:prstGeom>
          </p:spPr>
          <p:txBody>
            <a:bodyPr vert="horz" wrap="square" lIns="0" tIns="0" rIns="0" bIns="0" rtlCol="0">
              <a:spAutoFit/>
            </a:bodyPr>
            <a:lstStyle/>
            <a:p>
              <a:pPr marL="9525"/>
              <a:r>
                <a:rPr sz="900" dirty="0">
                  <a:solidFill>
                    <a:srgbClr val="FFFFFF"/>
                  </a:solidFill>
                  <a:latin typeface="Arial"/>
                  <a:cs typeface="Arial"/>
                </a:rPr>
                <a:t>9</a:t>
              </a:r>
              <a:endParaRPr sz="900" dirty="0">
                <a:latin typeface="Arial"/>
                <a:cs typeface="Arial"/>
              </a:endParaRPr>
            </a:p>
          </p:txBody>
        </p:sp>
      </p:grpSp>
      <p:sp>
        <p:nvSpPr>
          <p:cNvPr id="14" name="object 2">
            <a:extLst>
              <a:ext uri="{FF2B5EF4-FFF2-40B4-BE49-F238E27FC236}">
                <a16:creationId xmlns:a16="http://schemas.microsoft.com/office/drawing/2014/main" id="{9067049D-D808-4494-BCCB-902B28F0A466}"/>
              </a:ext>
            </a:extLst>
          </p:cNvPr>
          <p:cNvSpPr txBox="1">
            <a:spLocks/>
          </p:cNvSpPr>
          <p:nvPr/>
        </p:nvSpPr>
        <p:spPr>
          <a:xfrm>
            <a:off x="1043709" y="0"/>
            <a:ext cx="6234545"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err="1">
                <a:latin typeface="+mj-lt"/>
                <a:ea typeface="+mj-ea"/>
                <a:cs typeface="+mj-cs"/>
              </a:rPr>
              <a:t>Plexure</a:t>
            </a:r>
            <a:r>
              <a:rPr lang="en-US" sz="3299" dirty="0">
                <a:latin typeface="+mj-lt"/>
                <a:ea typeface="+mj-ea"/>
                <a:cs typeface="+mj-cs"/>
              </a:rPr>
              <a:t> Offer Creation</a:t>
            </a:r>
          </a:p>
        </p:txBody>
      </p:sp>
    </p:spTree>
    <p:extLst>
      <p:ext uri="{BB962C8B-B14F-4D97-AF65-F5344CB8AC3E}">
        <p14:creationId xmlns:p14="http://schemas.microsoft.com/office/powerpoint/2010/main" val="393656101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1378422" y="1477817"/>
            <a:ext cx="4625214" cy="3195781"/>
          </a:xfrm>
          <a:prstGeom prst="rect">
            <a:avLst/>
          </a:prstGeom>
        </p:spPr>
        <p:txBody>
          <a:bodyPr vert="horz" lIns="137160" tIns="91440" rIns="137160" bIns="274320" rtlCol="0" anchor="ctr" anchorCtr="0">
            <a:noAutofit/>
          </a:bodyPr>
          <a:lstStyle>
            <a:lvl1pPr marL="287338" indent="-287338" algn="l" defTabSz="914400" rtl="0" eaLnBrk="1" latinLnBrk="0" hangingPunct="1">
              <a:lnSpc>
                <a:spcPct val="90000"/>
              </a:lnSpc>
              <a:spcBef>
                <a:spcPts val="1800"/>
              </a:spcBef>
              <a:buFontTx/>
              <a:buBlip>
                <a:blip r:embed="rId3"/>
              </a:buBlip>
              <a:defRPr sz="20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Tx/>
              <a:buNone/>
            </a:pPr>
            <a:endParaRPr lang="en-US" sz="1800" b="1" dirty="0"/>
          </a:p>
          <a:p>
            <a:pPr marL="0" indent="0" fontAlgn="auto">
              <a:spcAft>
                <a:spcPts val="0"/>
              </a:spcAft>
              <a:buFontTx/>
              <a:buNone/>
            </a:pPr>
            <a:r>
              <a:rPr lang="en-US" sz="1800" b="1" dirty="0"/>
              <a:t>Repeatable Offers-</a:t>
            </a:r>
          </a:p>
          <a:p>
            <a:pPr fontAlgn="auto">
              <a:spcAft>
                <a:spcPts val="0"/>
              </a:spcAft>
            </a:pPr>
            <a:r>
              <a:rPr lang="en-US" sz="1800" dirty="0"/>
              <a:t>Select ‘Is Repeatable’ flag  while creating the offer</a:t>
            </a:r>
          </a:p>
          <a:p>
            <a:pPr marL="628565" lvl="1" indent="-285750" fontAlgn="auto">
              <a:spcAft>
                <a:spcPts val="0"/>
              </a:spcAft>
            </a:pPr>
            <a:r>
              <a:rPr lang="en-US" sz="1800" dirty="0"/>
              <a:t>Define the number of days offer will become available again</a:t>
            </a:r>
          </a:p>
          <a:p>
            <a:pPr marL="628565" lvl="1" indent="-285750" fontAlgn="auto">
              <a:spcAft>
                <a:spcPts val="0"/>
              </a:spcAft>
            </a:pPr>
            <a:r>
              <a:rPr lang="en-US" sz="1800" dirty="0"/>
              <a:t>Define the number of times offer can be repeated</a:t>
            </a:r>
          </a:p>
          <a:p>
            <a:pPr marL="342815" lvl="1" indent="0" fontAlgn="auto">
              <a:spcAft>
                <a:spcPts val="0"/>
              </a:spcAft>
            </a:pPr>
            <a:endParaRPr lang="en-US" sz="1800" dirty="0"/>
          </a:p>
          <a:p>
            <a:pPr marL="0" indent="0" fontAlgn="auto">
              <a:spcAft>
                <a:spcPts val="0"/>
              </a:spcAft>
              <a:buFontTx/>
              <a:buNone/>
            </a:pPr>
            <a:endParaRPr lang="en-US" sz="1800" b="1" dirty="0"/>
          </a:p>
        </p:txBody>
      </p:sp>
      <p:sp>
        <p:nvSpPr>
          <p:cNvPr id="8" name="object 2">
            <a:extLst>
              <a:ext uri="{FF2B5EF4-FFF2-40B4-BE49-F238E27FC236}">
                <a16:creationId xmlns:a16="http://schemas.microsoft.com/office/drawing/2014/main" id="{7B755700-1282-47C5-A70E-8EB9D83D2B6C}"/>
              </a:ext>
            </a:extLst>
          </p:cNvPr>
          <p:cNvSpPr txBox="1">
            <a:spLocks/>
          </p:cNvSpPr>
          <p:nvPr/>
        </p:nvSpPr>
        <p:spPr>
          <a:xfrm>
            <a:off x="1025237" y="29038"/>
            <a:ext cx="4314825" cy="694582"/>
          </a:xfrm>
          <a:prstGeom prst="rect">
            <a:avLst/>
          </a:prstGeom>
        </p:spPr>
        <p:txBody>
          <a:bodyPr vert="horz" wrap="square" lIns="0" tIns="194089" rIns="0" bIns="0" rtlCol="0" anchor="ctr">
            <a:spAutoFit/>
          </a:bodyPr>
          <a:lstStyle>
            <a:defPPr>
              <a:defRPr lang="en-US"/>
            </a:defPPr>
            <a:lvl1pPr marL="323374" defTabSz="685629" fontAlgn="base">
              <a:lnSpc>
                <a:spcPct val="90000"/>
              </a:lnSpc>
              <a:spcBef>
                <a:spcPct val="0"/>
              </a:spcBef>
              <a:spcAft>
                <a:spcPct val="0"/>
              </a:spcAft>
              <a:defRPr sz="3299" b="1">
                <a:latin typeface="+mj-lt"/>
                <a:ea typeface="+mj-ea"/>
                <a:cs typeface="+mj-cs"/>
              </a:defRPr>
            </a:lvl1pPr>
            <a:lvl2pPr defTabSz="685388" eaLnBrk="0" fontAlgn="base" hangingPunct="0">
              <a:lnSpc>
                <a:spcPct val="90000"/>
              </a:lnSpc>
              <a:spcBef>
                <a:spcPct val="0"/>
              </a:spcBef>
              <a:spcAft>
                <a:spcPct val="0"/>
              </a:spcAft>
              <a:defRPr sz="2026" b="1">
                <a:latin typeface="Open Sans" charset="0"/>
                <a:ea typeface="ＭＳ Ｐゴシック" charset="-128"/>
                <a:cs typeface="Open Sans" pitchFamily="4" charset="0"/>
              </a:defRPr>
            </a:lvl2pPr>
            <a:lvl3pPr defTabSz="685388" eaLnBrk="0" fontAlgn="base" hangingPunct="0">
              <a:lnSpc>
                <a:spcPct val="90000"/>
              </a:lnSpc>
              <a:spcBef>
                <a:spcPct val="0"/>
              </a:spcBef>
              <a:spcAft>
                <a:spcPct val="0"/>
              </a:spcAft>
              <a:defRPr sz="2026" b="1">
                <a:latin typeface="Open Sans" charset="0"/>
                <a:ea typeface="ＭＳ Ｐゴシック" charset="-128"/>
                <a:cs typeface="Open Sans" pitchFamily="4" charset="0"/>
              </a:defRPr>
            </a:lvl3pPr>
            <a:lvl4pPr defTabSz="685388" eaLnBrk="0" fontAlgn="base" hangingPunct="0">
              <a:lnSpc>
                <a:spcPct val="90000"/>
              </a:lnSpc>
              <a:spcBef>
                <a:spcPct val="0"/>
              </a:spcBef>
              <a:spcAft>
                <a:spcPct val="0"/>
              </a:spcAft>
              <a:defRPr sz="2026" b="1">
                <a:latin typeface="Open Sans" charset="0"/>
                <a:ea typeface="ＭＳ Ｐゴシック" charset="-128"/>
                <a:cs typeface="Open Sans" pitchFamily="4" charset="0"/>
              </a:defRPr>
            </a:lvl4pPr>
            <a:lvl5pPr defTabSz="685388" eaLnBrk="0" fontAlgn="base" hangingPunct="0">
              <a:lnSpc>
                <a:spcPct val="90000"/>
              </a:lnSpc>
              <a:spcBef>
                <a:spcPct val="0"/>
              </a:spcBef>
              <a:spcAft>
                <a:spcPct val="0"/>
              </a:spcAft>
              <a:defRPr sz="2026" b="1">
                <a:latin typeface="Open Sans" charset="0"/>
                <a:ea typeface="ＭＳ Ｐゴシック" charset="-128"/>
                <a:cs typeface="Open Sans" pitchFamily="4" charset="0"/>
              </a:defRPr>
            </a:lvl5pPr>
            <a:lvl6pPr marL="171496" defTabSz="685388" fontAlgn="base">
              <a:lnSpc>
                <a:spcPct val="90000"/>
              </a:lnSpc>
              <a:spcBef>
                <a:spcPct val="0"/>
              </a:spcBef>
              <a:spcAft>
                <a:spcPct val="0"/>
              </a:spcAft>
              <a:defRPr sz="3263">
                <a:latin typeface="Montserrat Semi Bold" charset="0"/>
                <a:ea typeface="ＭＳ Ｐゴシック" charset="-128"/>
                <a:cs typeface="ＭＳ Ｐゴシック" charset="-128"/>
              </a:defRPr>
            </a:lvl6pPr>
            <a:lvl7pPr marL="342991" defTabSz="685388" fontAlgn="base">
              <a:lnSpc>
                <a:spcPct val="90000"/>
              </a:lnSpc>
              <a:spcBef>
                <a:spcPct val="0"/>
              </a:spcBef>
              <a:spcAft>
                <a:spcPct val="0"/>
              </a:spcAft>
              <a:defRPr sz="3263">
                <a:latin typeface="Montserrat Semi Bold" charset="0"/>
                <a:ea typeface="ＭＳ Ｐゴシック" charset="-128"/>
                <a:cs typeface="ＭＳ Ｐゴシック" charset="-128"/>
              </a:defRPr>
            </a:lvl7pPr>
            <a:lvl8pPr marL="514487" defTabSz="685388" fontAlgn="base">
              <a:lnSpc>
                <a:spcPct val="90000"/>
              </a:lnSpc>
              <a:spcBef>
                <a:spcPct val="0"/>
              </a:spcBef>
              <a:spcAft>
                <a:spcPct val="0"/>
              </a:spcAft>
              <a:defRPr sz="3263">
                <a:latin typeface="Montserrat Semi Bold" charset="0"/>
                <a:ea typeface="ＭＳ Ｐゴシック" charset="-128"/>
                <a:cs typeface="ＭＳ Ｐゴシック" charset="-128"/>
              </a:defRPr>
            </a:lvl8pPr>
            <a:lvl9pPr marL="685983" defTabSz="685388" fontAlgn="base">
              <a:lnSpc>
                <a:spcPct val="90000"/>
              </a:lnSpc>
              <a:spcBef>
                <a:spcPct val="0"/>
              </a:spcBef>
              <a:spcAft>
                <a:spcPct val="0"/>
              </a:spcAft>
              <a:defRPr sz="3263">
                <a:latin typeface="Montserrat Semi Bold" charset="0"/>
                <a:ea typeface="ＭＳ Ｐゴシック" charset="-128"/>
                <a:cs typeface="ＭＳ Ｐゴシック" charset="-128"/>
              </a:defRPr>
            </a:lvl9pPr>
          </a:lstStyle>
          <a:p>
            <a:r>
              <a:rPr lang="en-US" dirty="0"/>
              <a:t>Repeatable Offers</a:t>
            </a:r>
          </a:p>
        </p:txBody>
      </p:sp>
      <p:pic>
        <p:nvPicPr>
          <p:cNvPr id="9" name="Picture 8"/>
          <p:cNvPicPr>
            <a:picLocks noChangeAspect="1"/>
          </p:cNvPicPr>
          <p:nvPr/>
        </p:nvPicPr>
        <p:blipFill>
          <a:blip r:embed="rId4"/>
          <a:stretch>
            <a:fillRect/>
          </a:stretch>
        </p:blipFill>
        <p:spPr>
          <a:xfrm>
            <a:off x="6168888" y="1256146"/>
            <a:ext cx="5667293" cy="3846854"/>
          </a:xfrm>
          <a:prstGeom prst="rect">
            <a:avLst/>
          </a:prstGeom>
        </p:spPr>
      </p:pic>
      <p:pic>
        <p:nvPicPr>
          <p:cNvPr id="10" name="Picture 9"/>
          <p:cNvPicPr>
            <a:picLocks noChangeAspect="1"/>
          </p:cNvPicPr>
          <p:nvPr/>
        </p:nvPicPr>
        <p:blipFill>
          <a:blip r:embed="rId5"/>
          <a:stretch>
            <a:fillRect/>
          </a:stretch>
        </p:blipFill>
        <p:spPr>
          <a:xfrm>
            <a:off x="2489257" y="5446269"/>
            <a:ext cx="8035671" cy="1134133"/>
          </a:xfrm>
          <a:prstGeom prst="rect">
            <a:avLst/>
          </a:prstGeom>
        </p:spPr>
      </p:pic>
    </p:spTree>
    <p:extLst>
      <p:ext uri="{BB962C8B-B14F-4D97-AF65-F5344CB8AC3E}">
        <p14:creationId xmlns:p14="http://schemas.microsoft.com/office/powerpoint/2010/main" val="145367560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75118" y="79617"/>
            <a:ext cx="5400196"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Channel Specific  Offers</a:t>
            </a:r>
          </a:p>
        </p:txBody>
      </p:sp>
      <p:sp>
        <p:nvSpPr>
          <p:cNvPr id="8" name="Rectangle 7"/>
          <p:cNvSpPr/>
          <p:nvPr/>
        </p:nvSpPr>
        <p:spPr>
          <a:xfrm>
            <a:off x="1330962" y="863474"/>
            <a:ext cx="9595656" cy="5970865"/>
          </a:xfrm>
          <a:prstGeom prst="rect">
            <a:avLst/>
          </a:prstGeom>
        </p:spPr>
        <p:txBody>
          <a:bodyPr wrap="square">
            <a:spAutoFit/>
          </a:bodyPr>
          <a:lstStyle/>
          <a:p>
            <a:r>
              <a:rPr lang="en-US" b="1" dirty="0"/>
              <a:t>How-To Configure Channel Specific Offers</a:t>
            </a:r>
          </a:p>
          <a:p>
            <a:endParaRPr lang="en-US" b="1" dirty="0"/>
          </a:p>
          <a:p>
            <a:r>
              <a:rPr lang="en-US" sz="1400" dirty="0">
                <a:ea typeface="Open Sans Light" charset="0"/>
                <a:cs typeface="Open Sans Light"/>
              </a:rPr>
              <a:t>When creating offers in Plexure, simply add one of the following content tags:</a:t>
            </a:r>
          </a:p>
          <a:p>
            <a:endParaRPr lang="en-US" sz="1400" dirty="0">
              <a:ea typeface="Open Sans Light" charset="0"/>
              <a:cs typeface="Open Sans Light"/>
            </a:endParaRPr>
          </a:p>
          <a:p>
            <a:pPr marL="285750" indent="-285750">
              <a:buFont typeface="Arial" panose="020B0604020202020204" pitchFamily="34" charset="0"/>
              <a:buChar char="•"/>
            </a:pPr>
            <a:r>
              <a:rPr lang="en-US" sz="1400" dirty="0">
                <a:ea typeface="Open Sans Light" charset="0"/>
                <a:cs typeface="Open Sans Light"/>
              </a:rPr>
              <a:t>POD Type &gt; Front Counter</a:t>
            </a:r>
          </a:p>
          <a:p>
            <a:pPr marL="285750" indent="-285750">
              <a:buFont typeface="Arial" panose="020B0604020202020204" pitchFamily="34" charset="0"/>
              <a:buChar char="•"/>
            </a:pPr>
            <a:r>
              <a:rPr lang="en-US" sz="1400" dirty="0">
                <a:ea typeface="Open Sans Light" charset="0"/>
                <a:cs typeface="Open Sans Light"/>
              </a:rPr>
              <a:t>POD Type &gt; Kiosk / CSO</a:t>
            </a:r>
          </a:p>
          <a:p>
            <a:pPr marL="285750" indent="-285750">
              <a:buFont typeface="Arial" panose="020B0604020202020204" pitchFamily="34" charset="0"/>
              <a:buChar char="•"/>
            </a:pPr>
            <a:r>
              <a:rPr lang="en-US" sz="1400" dirty="0">
                <a:ea typeface="Open Sans Light" charset="0"/>
                <a:cs typeface="Open Sans Light"/>
              </a:rPr>
              <a:t>POD Type &gt; Cold Kiosk</a:t>
            </a:r>
          </a:p>
          <a:p>
            <a:pPr marL="285750" indent="-285750">
              <a:buFont typeface="Arial" panose="020B0604020202020204" pitchFamily="34" charset="0"/>
              <a:buChar char="•"/>
            </a:pPr>
            <a:r>
              <a:rPr lang="en-US" sz="1400" dirty="0">
                <a:ea typeface="Open Sans Light" charset="0"/>
                <a:cs typeface="Open Sans Light"/>
              </a:rPr>
              <a:t>POD Type &gt; Drive Through</a:t>
            </a:r>
          </a:p>
          <a:p>
            <a:pPr marL="285750" indent="-285750">
              <a:buFont typeface="Arial" panose="020B0604020202020204" pitchFamily="34" charset="0"/>
              <a:buChar char="•"/>
            </a:pPr>
            <a:r>
              <a:rPr lang="en-US" sz="1400" dirty="0">
                <a:ea typeface="Open Sans Light" charset="0"/>
                <a:cs typeface="Open Sans Light"/>
              </a:rPr>
              <a:t>POD Type &gt; Walk Through</a:t>
            </a:r>
          </a:p>
          <a:p>
            <a:pPr marL="285750" indent="-285750">
              <a:buFont typeface="Arial" panose="020B0604020202020204" pitchFamily="34" charset="0"/>
              <a:buChar char="•"/>
            </a:pPr>
            <a:r>
              <a:rPr lang="en-US" sz="1400" dirty="0">
                <a:ea typeface="Open Sans Light" charset="0"/>
                <a:cs typeface="Open Sans Light"/>
              </a:rPr>
              <a:t>POD Type &gt; Delivery</a:t>
            </a:r>
          </a:p>
          <a:p>
            <a:pPr marL="285750" indent="-285750">
              <a:buFont typeface="Arial" panose="020B0604020202020204" pitchFamily="34" charset="0"/>
              <a:buChar char="•"/>
            </a:pPr>
            <a:r>
              <a:rPr lang="en-US" sz="1400" dirty="0">
                <a:ea typeface="Open Sans Light" charset="0"/>
                <a:cs typeface="Open Sans Light"/>
              </a:rPr>
              <a:t>POD Type &gt; Mc Cafe</a:t>
            </a:r>
            <a:endParaRPr lang="en-US" sz="1400" b="1" dirty="0"/>
          </a:p>
          <a:p>
            <a:endParaRPr lang="en-US" b="1" dirty="0"/>
          </a:p>
          <a:p>
            <a:r>
              <a:rPr lang="en-US" b="1" dirty="0"/>
              <a:t>Translations </a:t>
            </a:r>
          </a:p>
          <a:p>
            <a:endParaRPr lang="en-US" b="1" dirty="0"/>
          </a:p>
          <a:p>
            <a:r>
              <a:rPr lang="en-US" sz="1600" dirty="0">
                <a:ea typeface="Open Sans Light" charset="0"/>
                <a:cs typeface="Open Sans Light"/>
              </a:rPr>
              <a:t>The following string keys must have translations in all the languages you support in Phrase.com</a:t>
            </a:r>
          </a:p>
          <a:p>
            <a:endParaRPr lang="en-US" sz="16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kiosk</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mc_cafe</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delivery</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cold_kiosk</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drive_through</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walk_through</a:t>
            </a:r>
            <a:endParaRPr lang="en-US" sz="1400" dirty="0">
              <a:ea typeface="Open Sans Light" charset="0"/>
              <a:cs typeface="Open Sans Light"/>
            </a:endParaRPr>
          </a:p>
          <a:p>
            <a:pPr marL="285750" indent="-285750">
              <a:buFont typeface="Arial" panose="020B0604020202020204" pitchFamily="34" charset="0"/>
              <a:buChar char="•"/>
            </a:pPr>
            <a:r>
              <a:rPr lang="en-US" sz="1400" dirty="0" err="1">
                <a:ea typeface="Open Sans Light" charset="0"/>
                <a:cs typeface="Open Sans Light"/>
              </a:rPr>
              <a:t>gmal_deals_channel_front_counter</a:t>
            </a:r>
            <a:endParaRPr lang="en-US" sz="1400" dirty="0">
              <a:ea typeface="Open Sans Light" charset="0"/>
              <a:cs typeface="Open Sans Light"/>
            </a:endParaRPr>
          </a:p>
          <a:p>
            <a:endParaRPr lang="en-US" b="1" dirty="0"/>
          </a:p>
          <a:p>
            <a:endParaRPr lang="en-US" b="1" dirty="0"/>
          </a:p>
        </p:txBody>
      </p:sp>
    </p:spTree>
    <p:extLst>
      <p:ext uri="{BB962C8B-B14F-4D97-AF65-F5344CB8AC3E}">
        <p14:creationId xmlns:p14="http://schemas.microsoft.com/office/powerpoint/2010/main" val="56628392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0463" y="152438"/>
            <a:ext cx="3753913"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Upsizing Offers </a:t>
            </a:r>
          </a:p>
        </p:txBody>
      </p:sp>
      <p:sp>
        <p:nvSpPr>
          <p:cNvPr id="5" name="Rectangle 4"/>
          <p:cNvSpPr/>
          <p:nvPr/>
        </p:nvSpPr>
        <p:spPr>
          <a:xfrm>
            <a:off x="1155471" y="953690"/>
            <a:ext cx="8803178" cy="646331"/>
          </a:xfrm>
          <a:prstGeom prst="rect">
            <a:avLst/>
          </a:prstGeom>
        </p:spPr>
        <p:txBody>
          <a:bodyPr wrap="square">
            <a:spAutoFit/>
          </a:bodyPr>
          <a:lstStyle/>
          <a:p>
            <a:endParaRPr lang="en-US" b="1" dirty="0"/>
          </a:p>
          <a:p>
            <a:endParaRPr lang="en-US" b="1" dirty="0"/>
          </a:p>
        </p:txBody>
      </p:sp>
      <p:sp>
        <p:nvSpPr>
          <p:cNvPr id="6" name="AutoShape 2" descr="Screenshot 2019-04-05 at 15.33.14.png"/>
          <p:cNvSpPr>
            <a:spLocks noChangeAspect="1" noChangeArrowheads="1"/>
          </p:cNvSpPr>
          <p:nvPr/>
        </p:nvSpPr>
        <p:spPr bwMode="auto">
          <a:xfrm>
            <a:off x="1153103" y="-207910"/>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Rectangle 8"/>
          <p:cNvSpPr/>
          <p:nvPr/>
        </p:nvSpPr>
        <p:spPr>
          <a:xfrm>
            <a:off x="1286439" y="757239"/>
            <a:ext cx="7373389" cy="1107996"/>
          </a:xfrm>
          <a:prstGeom prst="rect">
            <a:avLst/>
          </a:prstGeom>
        </p:spPr>
        <p:txBody>
          <a:bodyPr wrap="square">
            <a:spAutoFit/>
          </a:bodyPr>
          <a:lstStyle/>
          <a:p>
            <a:r>
              <a:rPr lang="en-US" sz="1600" dirty="0"/>
              <a:t>An upsizing offer is a combination of two offers in one, where a customer can choose if they would like to have a different version of the offer. The feature is most suitable in a case where you want to provide an offer that can change their portion size.</a:t>
            </a:r>
          </a:p>
        </p:txBody>
      </p:sp>
      <p:pic>
        <p:nvPicPr>
          <p:cNvPr id="10" name="Picture 9"/>
          <p:cNvPicPr>
            <a:picLocks noChangeAspect="1"/>
          </p:cNvPicPr>
          <p:nvPr/>
        </p:nvPicPr>
        <p:blipFill>
          <a:blip r:embed="rId3"/>
          <a:stretch>
            <a:fillRect/>
          </a:stretch>
        </p:blipFill>
        <p:spPr>
          <a:xfrm>
            <a:off x="7873986" y="1796472"/>
            <a:ext cx="2861655" cy="4588625"/>
          </a:xfrm>
          <a:prstGeom prst="rect">
            <a:avLst/>
          </a:prstGeom>
        </p:spPr>
      </p:pic>
      <p:sp>
        <p:nvSpPr>
          <p:cNvPr id="11" name="Rectangle 10"/>
          <p:cNvSpPr/>
          <p:nvPr/>
        </p:nvSpPr>
        <p:spPr>
          <a:xfrm>
            <a:off x="1978531" y="1780422"/>
            <a:ext cx="5203363" cy="1384995"/>
          </a:xfrm>
          <a:prstGeom prst="rect">
            <a:avLst/>
          </a:prstGeom>
        </p:spPr>
        <p:txBody>
          <a:bodyPr wrap="square">
            <a:spAutoFit/>
          </a:bodyPr>
          <a:lstStyle/>
          <a:p>
            <a:r>
              <a:rPr lang="en-US" sz="1400" dirty="0">
                <a:latin typeface="-apple-system"/>
              </a:rPr>
              <a:t>To make the offer to be an upsizing offer, you have to add the tag "Upscaling Offers", you will find several similar tags of them. However, each tag will indicate if it's </a:t>
            </a:r>
            <a:r>
              <a:rPr lang="en-US" sz="1400" dirty="0" err="1">
                <a:latin typeface="-apple-system"/>
              </a:rPr>
              <a:t>gonna</a:t>
            </a:r>
            <a:r>
              <a:rPr lang="en-US" sz="1400" dirty="0">
                <a:latin typeface="-apple-system"/>
              </a:rPr>
              <a:t> be the "Regular" offer or "Large" offer and also which offer it will be combined in GMALite.</a:t>
            </a:r>
            <a:br>
              <a:rPr lang="en-US" sz="1400" dirty="0"/>
            </a:br>
            <a:r>
              <a:rPr lang="en-US" sz="1400" dirty="0">
                <a:latin typeface="-apple-system"/>
              </a:rPr>
              <a:t>For example, there is a tag named "Upscale Offer1 regular":</a:t>
            </a:r>
            <a:endParaRPr lang="en-US" sz="1400" dirty="0"/>
          </a:p>
        </p:txBody>
      </p:sp>
      <p:pic>
        <p:nvPicPr>
          <p:cNvPr id="12" name="Picture 11"/>
          <p:cNvPicPr>
            <a:picLocks noChangeAspect="1"/>
          </p:cNvPicPr>
          <p:nvPr/>
        </p:nvPicPr>
        <p:blipFill>
          <a:blip r:embed="rId4"/>
          <a:stretch>
            <a:fillRect/>
          </a:stretch>
        </p:blipFill>
        <p:spPr>
          <a:xfrm>
            <a:off x="2149995" y="3165417"/>
            <a:ext cx="4843116" cy="1456935"/>
          </a:xfrm>
          <a:prstGeom prst="rect">
            <a:avLst/>
          </a:prstGeom>
        </p:spPr>
      </p:pic>
      <p:pic>
        <p:nvPicPr>
          <p:cNvPr id="13" name="Picture 12"/>
          <p:cNvPicPr>
            <a:picLocks noChangeAspect="1"/>
          </p:cNvPicPr>
          <p:nvPr/>
        </p:nvPicPr>
        <p:blipFill>
          <a:blip r:embed="rId5"/>
          <a:stretch>
            <a:fillRect/>
          </a:stretch>
        </p:blipFill>
        <p:spPr>
          <a:xfrm>
            <a:off x="2149995" y="4622352"/>
            <a:ext cx="4843116" cy="1413622"/>
          </a:xfrm>
          <a:prstGeom prst="rect">
            <a:avLst/>
          </a:prstGeom>
        </p:spPr>
      </p:pic>
      <p:sp>
        <p:nvSpPr>
          <p:cNvPr id="14" name="Rectangle 13"/>
          <p:cNvSpPr/>
          <p:nvPr/>
        </p:nvSpPr>
        <p:spPr>
          <a:xfrm>
            <a:off x="2197101" y="6013638"/>
            <a:ext cx="5031899" cy="523220"/>
          </a:xfrm>
          <a:prstGeom prst="rect">
            <a:avLst/>
          </a:prstGeom>
        </p:spPr>
        <p:txBody>
          <a:bodyPr wrap="square">
            <a:spAutoFit/>
          </a:bodyPr>
          <a:lstStyle/>
          <a:p>
            <a:r>
              <a:rPr lang="en-US" sz="1400" dirty="0">
                <a:solidFill>
                  <a:srgbClr val="172B4D"/>
                </a:solidFill>
                <a:latin typeface="-apple-system"/>
              </a:rPr>
              <a:t>Currently maximum of 20 upsizing offer can be live in the same time</a:t>
            </a:r>
          </a:p>
        </p:txBody>
      </p:sp>
    </p:spTree>
    <p:extLst>
      <p:ext uri="{BB962C8B-B14F-4D97-AF65-F5344CB8AC3E}">
        <p14:creationId xmlns:p14="http://schemas.microsoft.com/office/powerpoint/2010/main" val="11845524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27</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Rectangle 3"/>
          <p:cNvSpPr/>
          <p:nvPr/>
        </p:nvSpPr>
        <p:spPr>
          <a:xfrm>
            <a:off x="998765" y="176122"/>
            <a:ext cx="3709029"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Birthday Offers </a:t>
            </a:r>
          </a:p>
        </p:txBody>
      </p:sp>
      <p:sp>
        <p:nvSpPr>
          <p:cNvPr id="5" name="Rectangle 4"/>
          <p:cNvSpPr/>
          <p:nvPr/>
        </p:nvSpPr>
        <p:spPr>
          <a:xfrm>
            <a:off x="1299557" y="1081316"/>
            <a:ext cx="8620298" cy="646331"/>
          </a:xfrm>
          <a:prstGeom prst="rect">
            <a:avLst/>
          </a:prstGeom>
        </p:spPr>
        <p:txBody>
          <a:bodyPr wrap="square">
            <a:spAutoFit/>
          </a:bodyPr>
          <a:lstStyle/>
          <a:p>
            <a:r>
              <a:rPr lang="en-US" dirty="0"/>
              <a:t>A special birthday offer can be set up in Plexure platform which can be configured to make the offer available to Birthday Customers on their Birthday Month</a:t>
            </a:r>
          </a:p>
        </p:txBody>
      </p:sp>
      <p:sp>
        <p:nvSpPr>
          <p:cNvPr id="6" name="Rectangle 5"/>
          <p:cNvSpPr/>
          <p:nvPr/>
        </p:nvSpPr>
        <p:spPr>
          <a:xfrm>
            <a:off x="1305421" y="1877792"/>
            <a:ext cx="3095719" cy="369332"/>
          </a:xfrm>
          <a:prstGeom prst="rect">
            <a:avLst/>
          </a:prstGeom>
        </p:spPr>
        <p:txBody>
          <a:bodyPr wrap="none">
            <a:spAutoFit/>
          </a:bodyPr>
          <a:lstStyle/>
          <a:p>
            <a:r>
              <a:rPr lang="en-US" b="1" dirty="0"/>
              <a:t>Advertisement of the Offer</a:t>
            </a:r>
          </a:p>
        </p:txBody>
      </p:sp>
      <p:sp>
        <p:nvSpPr>
          <p:cNvPr id="7" name="Rectangle 6"/>
          <p:cNvSpPr/>
          <p:nvPr/>
        </p:nvSpPr>
        <p:spPr>
          <a:xfrm>
            <a:off x="1557251" y="2358214"/>
            <a:ext cx="9517150" cy="1477328"/>
          </a:xfrm>
          <a:prstGeom prst="rect">
            <a:avLst/>
          </a:prstGeom>
        </p:spPr>
        <p:txBody>
          <a:bodyPr wrap="square">
            <a:spAutoFit/>
          </a:bodyPr>
          <a:lstStyle/>
          <a:p>
            <a:r>
              <a:rPr lang="en-US" dirty="0"/>
              <a:t>Displaying a Hero Banner advertisement with customers name "on us!" is another way to personalize the app, get customer attention and celebrate their birthday.</a:t>
            </a:r>
          </a:p>
          <a:p>
            <a:endParaRPr lang="en-US" dirty="0"/>
          </a:p>
          <a:p>
            <a:pPr marL="285750" indent="-285750">
              <a:buFont typeface="Arial" panose="020B0604020202020204" pitchFamily="34" charset="0"/>
              <a:buChar char="•"/>
            </a:pPr>
            <a:r>
              <a:rPr lang="en-US" dirty="0"/>
              <a:t>We should Use deep link with Birthday Offer</a:t>
            </a:r>
          </a:p>
          <a:p>
            <a:pPr marL="285750" indent="-285750">
              <a:buFont typeface="Arial" panose="020B0604020202020204" pitchFamily="34" charset="0"/>
              <a:buChar char="•"/>
            </a:pPr>
            <a:r>
              <a:rPr lang="en-US" dirty="0"/>
              <a:t>“Happy birthday {{#</a:t>
            </a:r>
            <a:r>
              <a:rPr lang="en-US" dirty="0" err="1"/>
              <a:t>firstName</a:t>
            </a:r>
            <a:r>
              <a:rPr lang="en-US" dirty="0"/>
              <a:t>}}, {{</a:t>
            </a:r>
            <a:r>
              <a:rPr lang="en-US" dirty="0" err="1"/>
              <a:t>firstName</a:t>
            </a:r>
            <a:r>
              <a:rPr lang="en-US" dirty="0"/>
              <a:t>}}{{/</a:t>
            </a:r>
            <a:r>
              <a:rPr lang="en-US" dirty="0" err="1"/>
              <a:t>firstName</a:t>
            </a:r>
            <a:r>
              <a:rPr lang="en-US" dirty="0"/>
              <a:t>}}!”</a:t>
            </a:r>
          </a:p>
        </p:txBody>
      </p:sp>
      <p:pic>
        <p:nvPicPr>
          <p:cNvPr id="8" name="Picture 7"/>
          <p:cNvPicPr>
            <a:picLocks noChangeAspect="1"/>
          </p:cNvPicPr>
          <p:nvPr/>
        </p:nvPicPr>
        <p:blipFill>
          <a:blip r:embed="rId2"/>
          <a:stretch>
            <a:fillRect/>
          </a:stretch>
        </p:blipFill>
        <p:spPr>
          <a:xfrm>
            <a:off x="9160915" y="2926129"/>
            <a:ext cx="1913486" cy="3391593"/>
          </a:xfrm>
          <a:prstGeom prst="rect">
            <a:avLst/>
          </a:prstGeom>
        </p:spPr>
      </p:pic>
    </p:spTree>
    <p:extLst>
      <p:ext uri="{BB962C8B-B14F-4D97-AF65-F5344CB8AC3E}">
        <p14:creationId xmlns:p14="http://schemas.microsoft.com/office/powerpoint/2010/main" val="103987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28</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Rectangle 3"/>
          <p:cNvSpPr/>
          <p:nvPr/>
        </p:nvSpPr>
        <p:spPr>
          <a:xfrm>
            <a:off x="934112" y="187786"/>
            <a:ext cx="3709029"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Birthday Offers </a:t>
            </a:r>
          </a:p>
        </p:txBody>
      </p:sp>
      <p:sp>
        <p:nvSpPr>
          <p:cNvPr id="5" name="Rectangle 4"/>
          <p:cNvSpPr/>
          <p:nvPr/>
        </p:nvSpPr>
        <p:spPr>
          <a:xfrm>
            <a:off x="4281479" y="2605145"/>
            <a:ext cx="4467307" cy="369332"/>
          </a:xfrm>
          <a:prstGeom prst="rect">
            <a:avLst/>
          </a:prstGeom>
        </p:spPr>
        <p:txBody>
          <a:bodyPr wrap="square">
            <a:spAutoFit/>
          </a:bodyPr>
          <a:lstStyle/>
          <a:p>
            <a:r>
              <a:rPr lang="en-US" b="1" dirty="0"/>
              <a:t>Tags to use for Push Messages</a:t>
            </a:r>
          </a:p>
        </p:txBody>
      </p:sp>
      <p:sp>
        <p:nvSpPr>
          <p:cNvPr id="6" name="Rectangle 5"/>
          <p:cNvSpPr/>
          <p:nvPr/>
        </p:nvSpPr>
        <p:spPr>
          <a:xfrm>
            <a:off x="1336344" y="1181179"/>
            <a:ext cx="10357579" cy="1200329"/>
          </a:xfrm>
          <a:prstGeom prst="rect">
            <a:avLst/>
          </a:prstGeom>
        </p:spPr>
        <p:txBody>
          <a:bodyPr wrap="square">
            <a:spAutoFit/>
          </a:bodyPr>
          <a:lstStyle/>
          <a:p>
            <a:r>
              <a:rPr lang="en-US" b="1" dirty="0"/>
              <a:t>Push Message to Notify Customer</a:t>
            </a:r>
          </a:p>
          <a:p>
            <a:endParaRPr lang="en-US" b="1" dirty="0"/>
          </a:p>
          <a:p>
            <a:r>
              <a:rPr lang="en-US" dirty="0"/>
              <a:t>Well wishing customers on their Birthday and reminding them of their Birthday gift from McDonald's is a great way to engage with customer</a:t>
            </a:r>
          </a:p>
        </p:txBody>
      </p:sp>
      <p:pic>
        <p:nvPicPr>
          <p:cNvPr id="7" name="Picture 6"/>
          <p:cNvPicPr>
            <a:picLocks noChangeAspect="1"/>
          </p:cNvPicPr>
          <p:nvPr/>
        </p:nvPicPr>
        <p:blipFill>
          <a:blip r:embed="rId2"/>
          <a:stretch>
            <a:fillRect/>
          </a:stretch>
        </p:blipFill>
        <p:spPr>
          <a:xfrm>
            <a:off x="3505625" y="3160594"/>
            <a:ext cx="6019016" cy="3468806"/>
          </a:xfrm>
          <a:prstGeom prst="rect">
            <a:avLst/>
          </a:prstGeom>
        </p:spPr>
      </p:pic>
    </p:spTree>
    <p:extLst>
      <p:ext uri="{BB962C8B-B14F-4D97-AF65-F5344CB8AC3E}">
        <p14:creationId xmlns:p14="http://schemas.microsoft.com/office/powerpoint/2010/main" val="304368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29</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Rectangle 3"/>
          <p:cNvSpPr/>
          <p:nvPr/>
        </p:nvSpPr>
        <p:spPr>
          <a:xfrm>
            <a:off x="860221" y="166342"/>
            <a:ext cx="3709029"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Birthday Offers </a:t>
            </a:r>
          </a:p>
        </p:txBody>
      </p:sp>
      <p:sp>
        <p:nvSpPr>
          <p:cNvPr id="5" name="Rectangle 4"/>
          <p:cNvSpPr/>
          <p:nvPr/>
        </p:nvSpPr>
        <p:spPr>
          <a:xfrm>
            <a:off x="1207036" y="1051870"/>
            <a:ext cx="10486888" cy="1477328"/>
          </a:xfrm>
          <a:prstGeom prst="rect">
            <a:avLst/>
          </a:prstGeom>
        </p:spPr>
        <p:txBody>
          <a:bodyPr wrap="square">
            <a:spAutoFit/>
          </a:bodyPr>
          <a:lstStyle/>
          <a:p>
            <a:r>
              <a:rPr lang="en-US" b="1" dirty="0"/>
              <a:t>Push Message to Notify Customer</a:t>
            </a:r>
          </a:p>
          <a:p>
            <a:endParaRPr lang="en-US" b="1" dirty="0"/>
          </a:p>
          <a:p>
            <a:r>
              <a:rPr lang="en-US" dirty="0"/>
              <a:t>One push message can be configured the “Start Date and Time” only one Date and Time. To have the push messages sent out for 12 months, 12 push messages will need to be configured as the examples in the following table.</a:t>
            </a:r>
          </a:p>
        </p:txBody>
      </p:sp>
      <p:pic>
        <p:nvPicPr>
          <p:cNvPr id="6" name="Picture 5"/>
          <p:cNvPicPr>
            <a:picLocks noChangeAspect="1"/>
          </p:cNvPicPr>
          <p:nvPr/>
        </p:nvPicPr>
        <p:blipFill>
          <a:blip r:embed="rId2"/>
          <a:stretch>
            <a:fillRect/>
          </a:stretch>
        </p:blipFill>
        <p:spPr>
          <a:xfrm>
            <a:off x="3054308" y="2732963"/>
            <a:ext cx="6792343" cy="3717713"/>
          </a:xfrm>
          <a:prstGeom prst="rect">
            <a:avLst/>
          </a:prstGeom>
        </p:spPr>
      </p:pic>
    </p:spTree>
    <p:extLst>
      <p:ext uri="{BB962C8B-B14F-4D97-AF65-F5344CB8AC3E}">
        <p14:creationId xmlns:p14="http://schemas.microsoft.com/office/powerpoint/2010/main" val="386887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175885" y="2883495"/>
            <a:ext cx="7450557" cy="1015663"/>
          </a:xfrm>
          <a:prstGeom prst="rect">
            <a:avLst/>
          </a:prstGeom>
          <a:noFill/>
        </p:spPr>
        <p:txBody>
          <a:bodyPr wrap="square" rtlCol="0">
            <a:spAutoFit/>
          </a:bodyPr>
          <a:lstStyle/>
          <a:p>
            <a:pPr algn="ctr"/>
            <a:r>
              <a:rPr lang="en-US" sz="6000" b="1" dirty="0" err="1">
                <a:solidFill>
                  <a:schemeClr val="accent2">
                    <a:lumMod val="75000"/>
                  </a:schemeClr>
                </a:solidFill>
                <a:latin typeface="Open Sans"/>
                <a:cs typeface="Arial Black"/>
              </a:rPr>
              <a:t>Plexure</a:t>
            </a:r>
            <a:r>
              <a:rPr lang="en-US" sz="6000" b="1" dirty="0">
                <a:solidFill>
                  <a:schemeClr val="accent2">
                    <a:lumMod val="75000"/>
                  </a:schemeClr>
                </a:solidFill>
                <a:latin typeface="Open Sans"/>
                <a:cs typeface="Arial Black"/>
              </a:rPr>
              <a:t> Overview</a:t>
            </a:r>
            <a:endParaRPr lang="en-US" sz="6000" b="1" dirty="0">
              <a:latin typeface="Open Sans"/>
            </a:endParaRPr>
          </a:p>
        </p:txBody>
      </p:sp>
    </p:spTree>
    <p:extLst>
      <p:ext uri="{BB962C8B-B14F-4D97-AF65-F5344CB8AC3E}">
        <p14:creationId xmlns:p14="http://schemas.microsoft.com/office/powerpoint/2010/main" val="373107322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0</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Rectangle 3"/>
          <p:cNvSpPr/>
          <p:nvPr/>
        </p:nvSpPr>
        <p:spPr>
          <a:xfrm>
            <a:off x="924876" y="219878"/>
            <a:ext cx="3709029" cy="549253"/>
          </a:xfrm>
          <a:prstGeom prst="rect">
            <a:avLst/>
          </a:prstGeom>
        </p:spPr>
        <p:txBody>
          <a:bodyPr wrap="none">
            <a:spAutoFit/>
          </a:bodyPr>
          <a:lstStyle/>
          <a:p>
            <a:pPr marL="323374" defTabSz="685629" fontAlgn="base">
              <a:lnSpc>
                <a:spcPct val="90000"/>
              </a:lnSpc>
              <a:spcBef>
                <a:spcPct val="0"/>
              </a:spcBef>
              <a:spcAft>
                <a:spcPct val="0"/>
              </a:spcAft>
            </a:pPr>
            <a:r>
              <a:rPr lang="en-US" sz="3299" b="1" dirty="0">
                <a:latin typeface="+mj-lt"/>
                <a:ea typeface="+mj-ea"/>
                <a:cs typeface="+mj-cs"/>
              </a:rPr>
              <a:t>Birthday Offers </a:t>
            </a:r>
          </a:p>
        </p:txBody>
      </p:sp>
      <p:sp>
        <p:nvSpPr>
          <p:cNvPr id="5" name="Rectangle 4"/>
          <p:cNvSpPr/>
          <p:nvPr/>
        </p:nvSpPr>
        <p:spPr>
          <a:xfrm>
            <a:off x="1294781" y="890289"/>
            <a:ext cx="10399143" cy="1477328"/>
          </a:xfrm>
          <a:prstGeom prst="rect">
            <a:avLst/>
          </a:prstGeom>
        </p:spPr>
        <p:txBody>
          <a:bodyPr wrap="square">
            <a:spAutoFit/>
          </a:bodyPr>
          <a:lstStyle/>
          <a:p>
            <a:r>
              <a:rPr lang="en-US" b="1" dirty="0"/>
              <a:t>Offer Creation </a:t>
            </a:r>
          </a:p>
          <a:p>
            <a:endParaRPr lang="en-US" b="1" dirty="0"/>
          </a:p>
          <a:p>
            <a:r>
              <a:rPr lang="en-US" dirty="0"/>
              <a:t>When configuring offers, under Filter – Consumer Targeting – Choose Segments &amp; Tags to add section the created birthday’s month tags will need to be selected here.</a:t>
            </a:r>
          </a:p>
          <a:p>
            <a:endParaRPr lang="en-US" b="1" dirty="0"/>
          </a:p>
        </p:txBody>
      </p:sp>
      <p:pic>
        <p:nvPicPr>
          <p:cNvPr id="6" name="Picture 5"/>
          <p:cNvPicPr>
            <a:picLocks noChangeAspect="1"/>
          </p:cNvPicPr>
          <p:nvPr/>
        </p:nvPicPr>
        <p:blipFill>
          <a:blip r:embed="rId2"/>
          <a:stretch>
            <a:fillRect/>
          </a:stretch>
        </p:blipFill>
        <p:spPr>
          <a:xfrm>
            <a:off x="3507874" y="2367617"/>
            <a:ext cx="5972955" cy="3383280"/>
          </a:xfrm>
          <a:prstGeom prst="rect">
            <a:avLst/>
          </a:prstGeom>
        </p:spPr>
      </p:pic>
      <p:sp>
        <p:nvSpPr>
          <p:cNvPr id="7" name="Rectangle 6"/>
          <p:cNvSpPr/>
          <p:nvPr/>
        </p:nvSpPr>
        <p:spPr>
          <a:xfrm>
            <a:off x="2470991" y="5890736"/>
            <a:ext cx="8046719" cy="738664"/>
          </a:xfrm>
          <a:prstGeom prst="rect">
            <a:avLst/>
          </a:prstGeom>
        </p:spPr>
        <p:txBody>
          <a:bodyPr wrap="square">
            <a:spAutoFit/>
          </a:bodyPr>
          <a:lstStyle/>
          <a:p>
            <a:r>
              <a:rPr lang="en-US" sz="1400" dirty="0"/>
              <a:t>To prevent customers from receiving birthday offers more than once a year, the configured birthday offer will need to be updated / configured with the Birthday’s month tag that is matched with the current month. This will be a manual process that will need to take place every month.</a:t>
            </a:r>
          </a:p>
        </p:txBody>
      </p:sp>
    </p:spTree>
    <p:extLst>
      <p:ext uri="{BB962C8B-B14F-4D97-AF65-F5344CB8AC3E}">
        <p14:creationId xmlns:p14="http://schemas.microsoft.com/office/powerpoint/2010/main" val="352593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370721" y="2273895"/>
            <a:ext cx="7450557" cy="1938992"/>
          </a:xfrm>
          <a:prstGeom prst="rect">
            <a:avLst/>
          </a:prstGeom>
          <a:noFill/>
        </p:spPr>
        <p:txBody>
          <a:bodyPr wrap="square" rtlCol="0">
            <a:spAutoFit/>
          </a:bodyPr>
          <a:lstStyle/>
          <a:p>
            <a:pPr algn="ctr"/>
            <a:r>
              <a:rPr lang="en-US" sz="6000" b="1" dirty="0" err="1">
                <a:solidFill>
                  <a:schemeClr val="accent2">
                    <a:lumMod val="75000"/>
                  </a:schemeClr>
                </a:solidFill>
                <a:latin typeface="Open Sans"/>
                <a:cs typeface="Arial Black"/>
              </a:rPr>
              <a:t>Adverstisement</a:t>
            </a:r>
            <a:r>
              <a:rPr lang="en-US" sz="6000" b="1" dirty="0">
                <a:solidFill>
                  <a:schemeClr val="accent2">
                    <a:lumMod val="75000"/>
                  </a:schemeClr>
                </a:solidFill>
                <a:latin typeface="Open Sans"/>
                <a:cs typeface="Arial Black"/>
              </a:rPr>
              <a:t> Management</a:t>
            </a:r>
            <a:endParaRPr lang="en-US" sz="6000" b="1" dirty="0">
              <a:latin typeface="Open Sans"/>
            </a:endParaRPr>
          </a:p>
        </p:txBody>
      </p:sp>
    </p:spTree>
    <p:extLst>
      <p:ext uri="{BB962C8B-B14F-4D97-AF65-F5344CB8AC3E}">
        <p14:creationId xmlns:p14="http://schemas.microsoft.com/office/powerpoint/2010/main" val="381344826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341683" y="1087382"/>
            <a:ext cx="2656353" cy="5027091"/>
            <a:chOff x="6263725" y="1607924"/>
            <a:chExt cx="2120331" cy="3918375"/>
          </a:xfrm>
        </p:grpSpPr>
        <p:sp>
          <p:nvSpPr>
            <p:cNvPr id="10" name="object 4"/>
            <p:cNvSpPr/>
            <p:nvPr/>
          </p:nvSpPr>
          <p:spPr>
            <a:xfrm>
              <a:off x="6263725" y="1607924"/>
              <a:ext cx="2120331" cy="3918375"/>
            </a:xfrm>
            <a:prstGeom prst="rect">
              <a:avLst/>
            </a:prstGeom>
            <a:blipFill>
              <a:blip r:embed="rId2" cstate="print"/>
              <a:stretch>
                <a:fillRect/>
              </a:stretch>
            </a:blipFill>
          </p:spPr>
          <p:txBody>
            <a:bodyPr wrap="square" lIns="0" tIns="0" rIns="0" bIns="0" rtlCol="0"/>
            <a:lstStyle/>
            <a:p>
              <a:endParaRPr sz="1350"/>
            </a:p>
          </p:txBody>
        </p:sp>
        <p:sp>
          <p:nvSpPr>
            <p:cNvPr id="11" name="object 5"/>
            <p:cNvSpPr/>
            <p:nvPr/>
          </p:nvSpPr>
          <p:spPr>
            <a:xfrm>
              <a:off x="6516548" y="2114550"/>
              <a:ext cx="1614687" cy="2905125"/>
            </a:xfrm>
            <a:prstGeom prst="rect">
              <a:avLst/>
            </a:prstGeom>
            <a:blipFill>
              <a:blip r:embed="rId3" cstate="print"/>
              <a:stretch>
                <a:fillRect/>
              </a:stretch>
            </a:blipFill>
          </p:spPr>
          <p:txBody>
            <a:bodyPr wrap="square" lIns="0" tIns="0" rIns="0" bIns="0" rtlCol="0"/>
            <a:lstStyle/>
            <a:p>
              <a:endParaRPr sz="1350"/>
            </a:p>
          </p:txBody>
        </p:sp>
      </p:grpSp>
      <p:sp>
        <p:nvSpPr>
          <p:cNvPr id="12" name="object 2"/>
          <p:cNvSpPr txBox="1">
            <a:spLocks noGrp="1"/>
          </p:cNvSpPr>
          <p:nvPr>
            <p:ph type="ctrTitle" idx="4294967295"/>
          </p:nvPr>
        </p:nvSpPr>
        <p:spPr>
          <a:xfrm>
            <a:off x="987802" y="101593"/>
            <a:ext cx="7415213" cy="654050"/>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Plexure Content &amp; Advertisement</a:t>
            </a:r>
          </a:p>
        </p:txBody>
      </p:sp>
      <p:sp>
        <p:nvSpPr>
          <p:cNvPr id="13" name="object 3"/>
          <p:cNvSpPr txBox="1"/>
          <p:nvPr/>
        </p:nvSpPr>
        <p:spPr>
          <a:xfrm>
            <a:off x="1444344" y="1087382"/>
            <a:ext cx="7897339" cy="5242566"/>
          </a:xfrm>
          <a:prstGeom prst="rect">
            <a:avLst/>
          </a:prstGeom>
        </p:spPr>
        <p:txBody>
          <a:bodyPr vert="horz" lIns="91440" tIns="45720" rIns="91440" bIns="45720" rtlCol="0">
            <a:noAutofit/>
          </a:bodyPr>
          <a:lstStyle>
            <a:lvl1pPr indent="0">
              <a:lnSpc>
                <a:spcPct val="150000"/>
              </a:lnSpc>
              <a:spcBef>
                <a:spcPts val="1200"/>
              </a:spcBef>
              <a:buClr>
                <a:schemeClr val="accent3"/>
              </a:buClr>
              <a:buSzPct val="120000"/>
              <a:buFont typeface="Arial"/>
              <a:buNone/>
              <a:defRPr sz="2200">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sz="1500" dirty="0"/>
              <a:t>Content managers have full control to manage properties of  in-app content for example</a:t>
            </a:r>
          </a:p>
          <a:p>
            <a:pPr marL="342900" indent="-342900">
              <a:buFont typeface="Arial" panose="020B0604020202020204" pitchFamily="34" charset="0"/>
              <a:buChar char="•"/>
            </a:pPr>
            <a:r>
              <a:rPr sz="1500" dirty="0"/>
              <a:t>Banner Advertisement status and time controls including day part, day  of the week, daily time intervals</a:t>
            </a:r>
          </a:p>
          <a:p>
            <a:pPr marL="342900" indent="-342900">
              <a:buFont typeface="Arial" panose="020B0604020202020204" pitchFamily="34" charset="0"/>
              <a:buChar char="•"/>
            </a:pPr>
            <a:r>
              <a:rPr sz="1500" dirty="0"/>
              <a:t>Advertisement title, description, terms &amp; conditions, images </a:t>
            </a:r>
            <a:r>
              <a:rPr lang="en-US" sz="1500" dirty="0"/>
              <a:t>&amp;</a:t>
            </a:r>
            <a:r>
              <a:rPr sz="1500" dirty="0"/>
              <a:t> content</a:t>
            </a:r>
            <a:endParaRPr lang="en-US" sz="1500" dirty="0"/>
          </a:p>
          <a:p>
            <a:pPr marL="342900" indent="-342900">
              <a:buFont typeface="Arial" panose="020B0604020202020204" pitchFamily="34" charset="0"/>
              <a:buChar char="•"/>
            </a:pPr>
            <a:r>
              <a:rPr lang="en-US" sz="1500" dirty="0"/>
              <a:t>Advertisements can be given a personalized experience by including the customer name</a:t>
            </a:r>
            <a:endParaRPr sz="1500" dirty="0"/>
          </a:p>
          <a:p>
            <a:pPr marL="342900" indent="-342900">
              <a:buFont typeface="Arial" panose="020B0604020202020204" pitchFamily="34" charset="0"/>
              <a:buChar char="•"/>
            </a:pPr>
            <a:r>
              <a:rPr sz="1500" dirty="0"/>
              <a:t>Advertisement ranking and order priority</a:t>
            </a:r>
          </a:p>
          <a:p>
            <a:pPr marL="342900" indent="-342900">
              <a:buFont typeface="Arial" panose="020B0604020202020204" pitchFamily="34" charset="0"/>
              <a:buChar char="•"/>
            </a:pPr>
            <a:r>
              <a:rPr sz="1500" dirty="0"/>
              <a:t>Advertisement targeting and audience selection by using tags </a:t>
            </a:r>
            <a:r>
              <a:rPr lang="en-US" sz="1500" dirty="0"/>
              <a:t> </a:t>
            </a:r>
          </a:p>
          <a:p>
            <a:pPr marL="342900" indent="-342900">
              <a:buFont typeface="Arial" panose="020B0604020202020204" pitchFamily="34" charset="0"/>
              <a:buChar char="•"/>
            </a:pPr>
            <a:r>
              <a:rPr sz="1500" dirty="0"/>
              <a:t>Connecting Advertisements to in app content, external links or in-app  webpages</a:t>
            </a:r>
          </a:p>
          <a:p>
            <a:pPr marL="342900" indent="-342900">
              <a:buFont typeface="Arial" panose="020B0604020202020204" pitchFamily="34" charset="0"/>
              <a:buChar char="•"/>
            </a:pPr>
            <a:r>
              <a:rPr sz="1500" dirty="0"/>
              <a:t>Geofence and Beacon targeting for in app content</a:t>
            </a:r>
          </a:p>
          <a:p>
            <a:pPr marL="342900" indent="-342900">
              <a:buFont typeface="Arial" panose="020B0604020202020204" pitchFamily="34" charset="0"/>
              <a:buChar char="•"/>
            </a:pPr>
            <a:r>
              <a:rPr sz="1500" dirty="0"/>
              <a:t>Weather targeting for promotional content</a:t>
            </a:r>
          </a:p>
        </p:txBody>
      </p:sp>
    </p:spTree>
    <p:extLst>
      <p:ext uri="{BB962C8B-B14F-4D97-AF65-F5344CB8AC3E}">
        <p14:creationId xmlns:p14="http://schemas.microsoft.com/office/powerpoint/2010/main" val="88679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3</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2"/>
          <p:cNvSpPr txBox="1">
            <a:spLocks noGrp="1"/>
          </p:cNvSpPr>
          <p:nvPr>
            <p:ph type="ctrTitle" idx="4294967295"/>
          </p:nvPr>
        </p:nvSpPr>
        <p:spPr>
          <a:xfrm>
            <a:off x="1006764" y="70643"/>
            <a:ext cx="8545513" cy="652463"/>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Steps in Advertisement Creation</a:t>
            </a:r>
          </a:p>
        </p:txBody>
      </p:sp>
      <p:sp>
        <p:nvSpPr>
          <p:cNvPr id="5" name="object 3"/>
          <p:cNvSpPr txBox="1"/>
          <p:nvPr/>
        </p:nvSpPr>
        <p:spPr>
          <a:xfrm>
            <a:off x="1539570" y="1226383"/>
            <a:ext cx="9193772" cy="5094367"/>
          </a:xfrm>
          <a:prstGeom prst="rect">
            <a:avLst/>
          </a:prstGeom>
        </p:spPr>
        <p:txBody>
          <a:bodyPr vert="horz" lIns="91440" tIns="45720" rIns="91440" bIns="45720" rtlCol="0">
            <a:noAutofit/>
          </a:bodyPr>
          <a:lstStyle>
            <a:defPPr>
              <a:defRPr lang="en-US"/>
            </a:defPPr>
            <a:lvl1pPr indent="0">
              <a:lnSpc>
                <a:spcPct val="150000"/>
              </a:lnSpc>
              <a:spcBef>
                <a:spcPts val="1200"/>
              </a:spcBef>
              <a:buClr>
                <a:schemeClr val="accent3"/>
              </a:buClr>
              <a:buSzPct val="120000"/>
              <a:buFont typeface="Arial"/>
              <a:buNone/>
              <a:defRPr>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342900" indent="-342900">
              <a:buFont typeface="+mj-lt"/>
              <a:buAutoNum type="arabicPeriod"/>
            </a:pPr>
            <a:r>
              <a:rPr dirty="0"/>
              <a:t>Select the campaign for the Advertisement</a:t>
            </a:r>
          </a:p>
          <a:p>
            <a:pPr marL="342900" indent="-342900">
              <a:buFont typeface="+mj-lt"/>
              <a:buAutoNum type="arabicPeriod"/>
            </a:pPr>
            <a:r>
              <a:rPr dirty="0"/>
              <a:t>Select the Placement type as </a:t>
            </a:r>
            <a:r>
              <a:rPr b="1" dirty="0"/>
              <a:t>‘Card’</a:t>
            </a:r>
          </a:p>
          <a:p>
            <a:pPr marL="342900" indent="-342900">
              <a:buFont typeface="+mj-lt"/>
              <a:buAutoNum type="arabicPeriod"/>
            </a:pPr>
            <a:r>
              <a:rPr dirty="0"/>
              <a:t>Enter Basic Properties like Title, Description, Start &amp; End Date Time, Days  of week</a:t>
            </a:r>
          </a:p>
          <a:p>
            <a:pPr marL="342900" indent="-342900">
              <a:buFont typeface="+mj-lt"/>
              <a:buAutoNum type="arabicPeriod"/>
            </a:pPr>
            <a:r>
              <a:rPr dirty="0"/>
              <a:t>Enter the Click through URL for the advertisement</a:t>
            </a:r>
          </a:p>
          <a:p>
            <a:pPr marL="342900" indent="-342900">
              <a:buFont typeface="+mj-lt"/>
              <a:buAutoNum type="arabicPeriod"/>
            </a:pPr>
            <a:r>
              <a:rPr dirty="0"/>
              <a:t>Upload the Image for the advertisement</a:t>
            </a:r>
          </a:p>
          <a:p>
            <a:pPr marL="342900" indent="-342900">
              <a:buFont typeface="+mj-lt"/>
              <a:buAutoNum type="arabicPeriod"/>
            </a:pPr>
            <a:r>
              <a:rPr dirty="0"/>
              <a:t>Select the filters and tags for targeting purposes</a:t>
            </a:r>
          </a:p>
          <a:p>
            <a:pPr marL="342900" indent="-342900">
              <a:buFont typeface="+mj-lt"/>
              <a:buAutoNum type="arabicPeriod"/>
            </a:pPr>
            <a:r>
              <a:rPr dirty="0"/>
              <a:t>Select the weighting for the advertisement</a:t>
            </a:r>
          </a:p>
          <a:p>
            <a:pPr marL="342900" indent="-342900">
              <a:buFont typeface="+mj-lt"/>
              <a:buAutoNum type="arabicPeriod"/>
            </a:pPr>
            <a:r>
              <a:rPr dirty="0"/>
              <a:t>Publish the Advertisement</a:t>
            </a:r>
          </a:p>
        </p:txBody>
      </p:sp>
    </p:spTree>
    <p:extLst>
      <p:ext uri="{BB962C8B-B14F-4D97-AF65-F5344CB8AC3E}">
        <p14:creationId xmlns:p14="http://schemas.microsoft.com/office/powerpoint/2010/main" val="364659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4</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4" name="Group 3"/>
          <p:cNvGrpSpPr/>
          <p:nvPr/>
        </p:nvGrpSpPr>
        <p:grpSpPr>
          <a:xfrm>
            <a:off x="1338209" y="1209812"/>
            <a:ext cx="3798142" cy="5034156"/>
            <a:chOff x="800101" y="1871968"/>
            <a:chExt cx="3913242" cy="3891880"/>
          </a:xfrm>
        </p:grpSpPr>
        <p:sp>
          <p:nvSpPr>
            <p:cNvPr id="5" name="object 2"/>
            <p:cNvSpPr/>
            <p:nvPr/>
          </p:nvSpPr>
          <p:spPr>
            <a:xfrm>
              <a:off x="800101" y="1871968"/>
              <a:ext cx="3913241" cy="3271532"/>
            </a:xfrm>
            <a:prstGeom prst="rect">
              <a:avLst/>
            </a:prstGeom>
            <a:blipFill>
              <a:blip r:embed="rId2" cstate="print"/>
              <a:stretch>
                <a:fillRect/>
              </a:stretch>
            </a:blipFill>
          </p:spPr>
          <p:txBody>
            <a:bodyPr wrap="square" lIns="0" tIns="0" rIns="0" bIns="0" rtlCol="0"/>
            <a:lstStyle/>
            <a:p>
              <a:endParaRPr sz="1350"/>
            </a:p>
          </p:txBody>
        </p:sp>
        <p:sp>
          <p:nvSpPr>
            <p:cNvPr id="6" name="object 11"/>
            <p:cNvSpPr/>
            <p:nvPr/>
          </p:nvSpPr>
          <p:spPr>
            <a:xfrm>
              <a:off x="800102" y="5143500"/>
              <a:ext cx="3913241" cy="620348"/>
            </a:xfrm>
            <a:prstGeom prst="rect">
              <a:avLst/>
            </a:prstGeom>
            <a:blipFill>
              <a:blip r:embed="rId3" cstate="print"/>
              <a:stretch>
                <a:fillRect/>
              </a:stretch>
            </a:blipFill>
          </p:spPr>
          <p:txBody>
            <a:bodyPr wrap="square" lIns="0" tIns="0" rIns="0" bIns="0" rtlCol="0"/>
            <a:lstStyle/>
            <a:p>
              <a:endParaRPr sz="1350"/>
            </a:p>
          </p:txBody>
        </p:sp>
      </p:grpSp>
      <p:sp>
        <p:nvSpPr>
          <p:cNvPr id="7" name="object 3"/>
          <p:cNvSpPr txBox="1">
            <a:spLocks noGrp="1"/>
          </p:cNvSpPr>
          <p:nvPr>
            <p:ph type="ctrTitle" idx="4294967295"/>
          </p:nvPr>
        </p:nvSpPr>
        <p:spPr>
          <a:xfrm>
            <a:off x="969818" y="18858"/>
            <a:ext cx="8462963" cy="654050"/>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Plexure Advertisement Creation</a:t>
            </a:r>
          </a:p>
        </p:txBody>
      </p:sp>
      <p:sp>
        <p:nvSpPr>
          <p:cNvPr id="8" name="object 4"/>
          <p:cNvSpPr txBox="1"/>
          <p:nvPr/>
        </p:nvSpPr>
        <p:spPr>
          <a:xfrm>
            <a:off x="5467986" y="1474824"/>
            <a:ext cx="6225938" cy="4190827"/>
          </a:xfrm>
          <a:prstGeom prst="rect">
            <a:avLst/>
          </a:prstGeom>
        </p:spPr>
        <p:txBody>
          <a:bodyPr vert="horz" wrap="square" lIns="0" tIns="0" rIns="0" bIns="0" rtlCol="0">
            <a:spAutoFit/>
          </a:bodyPr>
          <a:lstStyle/>
          <a:p>
            <a:pPr marL="9525">
              <a:buAutoNum type="arabicPeriod"/>
              <a:tabLst>
                <a:tab pos="187166" algn="l"/>
              </a:tabLst>
            </a:pPr>
            <a:r>
              <a:rPr spc="8" dirty="0">
                <a:cs typeface="Arial"/>
              </a:rPr>
              <a:t>Select </a:t>
            </a:r>
            <a:r>
              <a:rPr spc="4" dirty="0">
                <a:cs typeface="Arial"/>
              </a:rPr>
              <a:t>the </a:t>
            </a:r>
            <a:r>
              <a:rPr spc="11" dirty="0">
                <a:cs typeface="Arial"/>
              </a:rPr>
              <a:t>Campaign </a:t>
            </a:r>
            <a:r>
              <a:rPr spc="4" dirty="0">
                <a:cs typeface="Arial"/>
              </a:rPr>
              <a:t>for </a:t>
            </a:r>
            <a:r>
              <a:rPr spc="8" dirty="0">
                <a:cs typeface="Arial"/>
              </a:rPr>
              <a:t>advertisement</a:t>
            </a:r>
            <a:endParaRPr dirty="0">
              <a:cs typeface="Arial"/>
            </a:endParaRPr>
          </a:p>
          <a:p>
            <a:pPr>
              <a:spcBef>
                <a:spcPts val="30"/>
              </a:spcBef>
              <a:buClr>
                <a:srgbClr val="FFFFFF"/>
              </a:buClr>
              <a:buFont typeface="Arial"/>
              <a:buAutoNum type="arabicPeriod"/>
            </a:pPr>
            <a:endParaRPr dirty="0">
              <a:cs typeface="Times New Roman"/>
            </a:endParaRPr>
          </a:p>
          <a:p>
            <a:pPr marL="186690" indent="-177165">
              <a:buAutoNum type="arabicPeriod"/>
              <a:tabLst>
                <a:tab pos="187166" algn="l"/>
              </a:tabLst>
            </a:pPr>
            <a:r>
              <a:rPr spc="8" dirty="0">
                <a:cs typeface="Arial"/>
              </a:rPr>
              <a:t>Select </a:t>
            </a:r>
            <a:r>
              <a:rPr spc="4" dirty="0">
                <a:cs typeface="Arial"/>
              </a:rPr>
              <a:t>the </a:t>
            </a:r>
            <a:r>
              <a:rPr spc="11" dirty="0">
                <a:cs typeface="Arial"/>
              </a:rPr>
              <a:t>placement </a:t>
            </a:r>
            <a:r>
              <a:rPr spc="4" dirty="0">
                <a:cs typeface="Arial"/>
              </a:rPr>
              <a:t>type </a:t>
            </a:r>
            <a:r>
              <a:rPr spc="8" dirty="0">
                <a:cs typeface="Arial"/>
              </a:rPr>
              <a:t>as</a:t>
            </a:r>
            <a:r>
              <a:rPr spc="-26" dirty="0">
                <a:cs typeface="Arial"/>
              </a:rPr>
              <a:t> </a:t>
            </a:r>
            <a:r>
              <a:rPr spc="8" dirty="0">
                <a:cs typeface="Arial"/>
              </a:rPr>
              <a:t>‘Card’</a:t>
            </a:r>
            <a:endParaRPr dirty="0">
              <a:cs typeface="Arial"/>
            </a:endParaRPr>
          </a:p>
          <a:p>
            <a:pPr>
              <a:lnSpc>
                <a:spcPct val="100000"/>
              </a:lnSpc>
              <a:buClr>
                <a:srgbClr val="FFFFFF"/>
              </a:buClr>
              <a:buFont typeface="Arial"/>
              <a:buAutoNum type="arabicPeriod"/>
            </a:pPr>
            <a:endParaRPr dirty="0">
              <a:cs typeface="Times New Roman"/>
            </a:endParaRPr>
          </a:p>
          <a:p>
            <a:pPr marL="9525" marR="5715" algn="just">
              <a:lnSpc>
                <a:spcPct val="101899"/>
              </a:lnSpc>
              <a:buAutoNum type="arabicPeriod"/>
              <a:tabLst>
                <a:tab pos="187166" algn="l"/>
              </a:tabLst>
            </a:pPr>
            <a:r>
              <a:rPr spc="8" dirty="0">
                <a:cs typeface="Arial"/>
              </a:rPr>
              <a:t>Select </a:t>
            </a:r>
            <a:r>
              <a:rPr spc="-4" dirty="0">
                <a:cs typeface="Arial"/>
              </a:rPr>
              <a:t>Title, </a:t>
            </a:r>
            <a:r>
              <a:rPr spc="8" dirty="0">
                <a:cs typeface="Arial"/>
              </a:rPr>
              <a:t>Description, Start date </a:t>
            </a:r>
            <a:r>
              <a:rPr spc="11" dirty="0">
                <a:cs typeface="Arial"/>
              </a:rPr>
              <a:t>and </a:t>
            </a:r>
            <a:r>
              <a:rPr spc="8" dirty="0">
                <a:cs typeface="Arial"/>
              </a:rPr>
              <a:t>time,  End </a:t>
            </a:r>
            <a:r>
              <a:rPr spc="4" dirty="0">
                <a:cs typeface="Arial"/>
              </a:rPr>
              <a:t>date </a:t>
            </a:r>
            <a:r>
              <a:rPr spc="8" dirty="0">
                <a:cs typeface="Arial"/>
              </a:rPr>
              <a:t>and </a:t>
            </a:r>
            <a:r>
              <a:rPr spc="4" dirty="0">
                <a:cs typeface="Arial"/>
              </a:rPr>
              <a:t>time, Daily </a:t>
            </a:r>
            <a:r>
              <a:rPr spc="8" dirty="0">
                <a:cs typeface="Arial"/>
              </a:rPr>
              <a:t>and weekly </a:t>
            </a:r>
            <a:r>
              <a:rPr spc="4" dirty="0">
                <a:cs typeface="Arial"/>
              </a:rPr>
              <a:t>time filters for  the</a:t>
            </a:r>
            <a:r>
              <a:rPr spc="-23" dirty="0">
                <a:cs typeface="Arial"/>
              </a:rPr>
              <a:t> </a:t>
            </a:r>
            <a:r>
              <a:rPr spc="8" dirty="0">
                <a:cs typeface="Arial"/>
              </a:rPr>
              <a:t>advertisement</a:t>
            </a:r>
            <a:endParaRPr dirty="0">
              <a:cs typeface="Arial"/>
            </a:endParaRPr>
          </a:p>
          <a:p>
            <a:pPr>
              <a:spcBef>
                <a:spcPts val="30"/>
              </a:spcBef>
              <a:buClr>
                <a:srgbClr val="FFFFFF"/>
              </a:buClr>
              <a:buFont typeface="Arial"/>
              <a:buAutoNum type="arabicPeriod"/>
            </a:pPr>
            <a:endParaRPr dirty="0">
              <a:cs typeface="Times New Roman"/>
            </a:endParaRPr>
          </a:p>
          <a:p>
            <a:pPr marL="186690" indent="-177165">
              <a:buAutoNum type="arabicPeriod"/>
              <a:tabLst>
                <a:tab pos="187166" algn="l"/>
              </a:tabLst>
            </a:pPr>
            <a:r>
              <a:rPr spc="8" dirty="0">
                <a:cs typeface="Arial"/>
              </a:rPr>
              <a:t>Select </a:t>
            </a:r>
            <a:r>
              <a:rPr spc="4" dirty="0">
                <a:cs typeface="Arial"/>
              </a:rPr>
              <a:t>Click </a:t>
            </a:r>
            <a:r>
              <a:rPr spc="11" dirty="0">
                <a:cs typeface="Arial"/>
              </a:rPr>
              <a:t>Through </a:t>
            </a:r>
            <a:r>
              <a:rPr spc="8" dirty="0">
                <a:cs typeface="Arial"/>
              </a:rPr>
              <a:t>URL </a:t>
            </a:r>
            <a:r>
              <a:rPr spc="11" dirty="0">
                <a:cs typeface="Arial"/>
              </a:rPr>
              <a:t>and </a:t>
            </a:r>
            <a:r>
              <a:rPr spc="8" dirty="0">
                <a:cs typeface="Arial"/>
              </a:rPr>
              <a:t>content</a:t>
            </a:r>
            <a:r>
              <a:rPr spc="-68" dirty="0">
                <a:cs typeface="Arial"/>
              </a:rPr>
              <a:t> </a:t>
            </a:r>
            <a:r>
              <a:rPr spc="8" dirty="0">
                <a:cs typeface="Arial"/>
              </a:rPr>
              <a:t>URL</a:t>
            </a:r>
            <a:endParaRPr dirty="0">
              <a:cs typeface="Arial"/>
            </a:endParaRPr>
          </a:p>
          <a:p>
            <a:pPr>
              <a:lnSpc>
                <a:spcPct val="100000"/>
              </a:lnSpc>
            </a:pPr>
            <a:endParaRPr dirty="0">
              <a:cs typeface="Times New Roman"/>
            </a:endParaRPr>
          </a:p>
          <a:p>
            <a:pPr marL="295275" marR="3810" indent="-285750" algn="just">
              <a:lnSpc>
                <a:spcPct val="101899"/>
              </a:lnSpc>
              <a:buFont typeface="Arial" panose="020B0604020202020204" pitchFamily="34" charset="0"/>
              <a:buChar char="•"/>
            </a:pPr>
            <a:r>
              <a:rPr spc="4" dirty="0">
                <a:cs typeface="Arial"/>
              </a:rPr>
              <a:t>Click </a:t>
            </a:r>
            <a:r>
              <a:rPr spc="11" dirty="0">
                <a:cs typeface="Arial"/>
              </a:rPr>
              <a:t>Through </a:t>
            </a:r>
            <a:r>
              <a:rPr spc="8" dirty="0">
                <a:cs typeface="Arial"/>
              </a:rPr>
              <a:t>URL can be configured </a:t>
            </a:r>
            <a:r>
              <a:rPr dirty="0">
                <a:cs typeface="Arial"/>
              </a:rPr>
              <a:t>to </a:t>
            </a:r>
            <a:r>
              <a:rPr spc="11" dirty="0">
                <a:cs typeface="Arial"/>
              </a:rPr>
              <a:t>open </a:t>
            </a:r>
            <a:r>
              <a:rPr spc="4" dirty="0">
                <a:cs typeface="Arial"/>
              </a:rPr>
              <a:t>links  within the </a:t>
            </a:r>
            <a:r>
              <a:rPr spc="11" dirty="0">
                <a:cs typeface="Arial"/>
              </a:rPr>
              <a:t>app </a:t>
            </a:r>
            <a:r>
              <a:rPr spc="8" dirty="0">
                <a:cs typeface="Arial"/>
              </a:rPr>
              <a:t>(web view) or </a:t>
            </a:r>
            <a:r>
              <a:rPr spc="11" dirty="0">
                <a:cs typeface="Arial"/>
              </a:rPr>
              <a:t>open </a:t>
            </a:r>
            <a:r>
              <a:rPr spc="8" dirty="0">
                <a:cs typeface="Arial"/>
              </a:rPr>
              <a:t>outside </a:t>
            </a:r>
            <a:r>
              <a:rPr spc="4" dirty="0">
                <a:cs typeface="Arial"/>
              </a:rPr>
              <a:t>the </a:t>
            </a:r>
            <a:r>
              <a:rPr spc="11" dirty="0">
                <a:cs typeface="Arial"/>
              </a:rPr>
              <a:t>app  </a:t>
            </a:r>
            <a:r>
              <a:rPr spc="4" dirty="0">
                <a:cs typeface="Arial"/>
              </a:rPr>
              <a:t>in the </a:t>
            </a:r>
            <a:r>
              <a:rPr spc="8" dirty="0">
                <a:cs typeface="Arial"/>
              </a:rPr>
              <a:t>native</a:t>
            </a:r>
            <a:r>
              <a:rPr spc="-26" dirty="0">
                <a:cs typeface="Arial"/>
              </a:rPr>
              <a:t> </a:t>
            </a:r>
            <a:r>
              <a:rPr spc="8" dirty="0">
                <a:cs typeface="Arial"/>
              </a:rPr>
              <a:t>browsers</a:t>
            </a:r>
            <a:endParaRPr dirty="0">
              <a:cs typeface="Arial"/>
            </a:endParaRPr>
          </a:p>
          <a:p>
            <a:pPr marL="295275" marR="180975" indent="-285750" algn="just">
              <a:lnSpc>
                <a:spcPct val="101000"/>
              </a:lnSpc>
              <a:buFont typeface="Arial" panose="020B0604020202020204" pitchFamily="34" charset="0"/>
              <a:buChar char="•"/>
            </a:pPr>
            <a:r>
              <a:rPr spc="8" dirty="0">
                <a:cs typeface="Arial"/>
              </a:rPr>
              <a:t>Content URL can be used </a:t>
            </a:r>
            <a:r>
              <a:rPr dirty="0">
                <a:cs typeface="Arial"/>
              </a:rPr>
              <a:t>to </a:t>
            </a:r>
            <a:r>
              <a:rPr spc="8" dirty="0">
                <a:cs typeface="Arial"/>
              </a:rPr>
              <a:t>play music or video  </a:t>
            </a:r>
            <a:r>
              <a:rPr spc="11" dirty="0">
                <a:cs typeface="Arial"/>
              </a:rPr>
              <a:t>when </a:t>
            </a:r>
            <a:r>
              <a:rPr spc="8" dirty="0">
                <a:cs typeface="Arial"/>
              </a:rPr>
              <a:t>customer </a:t>
            </a:r>
            <a:r>
              <a:rPr spc="4" dirty="0">
                <a:cs typeface="Arial"/>
              </a:rPr>
              <a:t>interacts with the</a:t>
            </a:r>
            <a:r>
              <a:rPr spc="34" dirty="0">
                <a:cs typeface="Arial"/>
              </a:rPr>
              <a:t> </a:t>
            </a:r>
            <a:r>
              <a:rPr spc="8" dirty="0">
                <a:cs typeface="Arial"/>
              </a:rPr>
              <a:t>advertisement</a:t>
            </a:r>
            <a:endParaRPr lang="en-US" spc="8" dirty="0">
              <a:cs typeface="Arial"/>
            </a:endParaRPr>
          </a:p>
          <a:p>
            <a:pPr marL="295275" marR="180975" indent="-285750" algn="just">
              <a:lnSpc>
                <a:spcPct val="101000"/>
              </a:lnSpc>
              <a:buFont typeface="Arial" panose="020B0604020202020204" pitchFamily="34" charset="0"/>
              <a:buChar char="•"/>
            </a:pPr>
            <a:r>
              <a:rPr lang="en-US" dirty="0"/>
              <a:t>Multi-Language Support for Banner Ad Click URLs</a:t>
            </a:r>
          </a:p>
        </p:txBody>
      </p:sp>
      <p:sp>
        <p:nvSpPr>
          <p:cNvPr id="9" name="object 7"/>
          <p:cNvSpPr txBox="1"/>
          <p:nvPr/>
        </p:nvSpPr>
        <p:spPr>
          <a:xfrm>
            <a:off x="2826126" y="2132542"/>
            <a:ext cx="82867" cy="409792"/>
          </a:xfrm>
          <a:prstGeom prst="rect">
            <a:avLst/>
          </a:prstGeom>
        </p:spPr>
        <p:txBody>
          <a:bodyPr vert="horz" wrap="square" lIns="0" tIns="0" rIns="0" bIns="0" rtlCol="0">
            <a:spAutoFit/>
          </a:bodyPr>
          <a:lstStyle/>
          <a:p>
            <a:pPr marL="9525"/>
            <a:r>
              <a:rPr sz="900" dirty="0">
                <a:solidFill>
                  <a:srgbClr val="FFFFFF"/>
                </a:solidFill>
                <a:latin typeface="Arial"/>
                <a:cs typeface="Arial"/>
              </a:rPr>
              <a:t>1</a:t>
            </a:r>
            <a:endParaRPr sz="900" dirty="0">
              <a:latin typeface="Arial"/>
              <a:cs typeface="Arial"/>
            </a:endParaRPr>
          </a:p>
          <a:p>
            <a:pPr>
              <a:spcBef>
                <a:spcPts val="23"/>
              </a:spcBef>
            </a:pPr>
            <a:endParaRPr sz="863" dirty="0">
              <a:latin typeface="Times New Roman"/>
              <a:cs typeface="Times New Roman"/>
            </a:endParaRPr>
          </a:p>
          <a:p>
            <a:pPr marL="9525"/>
            <a:r>
              <a:rPr sz="900" dirty="0">
                <a:solidFill>
                  <a:srgbClr val="FFFFFF"/>
                </a:solidFill>
                <a:latin typeface="Arial"/>
                <a:cs typeface="Arial"/>
              </a:rPr>
              <a:t>2</a:t>
            </a:r>
            <a:endParaRPr sz="900" dirty="0">
              <a:latin typeface="Arial"/>
              <a:cs typeface="Arial"/>
            </a:endParaRPr>
          </a:p>
        </p:txBody>
      </p:sp>
      <p:sp>
        <p:nvSpPr>
          <p:cNvPr id="10" name="object 9"/>
          <p:cNvSpPr txBox="1"/>
          <p:nvPr/>
        </p:nvSpPr>
        <p:spPr>
          <a:xfrm>
            <a:off x="1669845" y="3500989"/>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3</a:t>
            </a:r>
            <a:endParaRPr sz="900" dirty="0">
              <a:latin typeface="Arial"/>
              <a:cs typeface="Arial"/>
            </a:endParaRPr>
          </a:p>
        </p:txBody>
      </p:sp>
      <p:sp>
        <p:nvSpPr>
          <p:cNvPr id="11" name="object 13"/>
          <p:cNvSpPr txBox="1"/>
          <p:nvPr/>
        </p:nvSpPr>
        <p:spPr>
          <a:xfrm>
            <a:off x="1669845" y="5290570"/>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4</a:t>
            </a:r>
            <a:endParaRPr sz="900">
              <a:latin typeface="Arial"/>
              <a:cs typeface="Arial"/>
            </a:endParaRPr>
          </a:p>
        </p:txBody>
      </p:sp>
    </p:spTree>
    <p:extLst>
      <p:ext uri="{BB962C8B-B14F-4D97-AF65-F5344CB8AC3E}">
        <p14:creationId xmlns:p14="http://schemas.microsoft.com/office/powerpoint/2010/main" val="167654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5</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1"/>
          <p:cNvSpPr>
            <a:spLocks noGrp="1"/>
          </p:cNvSpPr>
          <p:nvPr>
            <p:ph type="ctrTitle" idx="4294967295"/>
          </p:nvPr>
        </p:nvSpPr>
        <p:spPr>
          <a:xfrm>
            <a:off x="979055" y="241074"/>
            <a:ext cx="9245600" cy="627513"/>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Linking Banners to different Section of App</a:t>
            </a:r>
          </a:p>
        </p:txBody>
      </p:sp>
      <p:sp>
        <p:nvSpPr>
          <p:cNvPr id="5" name="Content Placeholder 2"/>
          <p:cNvSpPr txBox="1">
            <a:spLocks/>
          </p:cNvSpPr>
          <p:nvPr/>
        </p:nvSpPr>
        <p:spPr>
          <a:xfrm>
            <a:off x="1274617" y="1421245"/>
            <a:ext cx="8820727"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50000"/>
              </a:lnSpc>
              <a:spcAft>
                <a:spcPts val="0"/>
              </a:spcAft>
              <a:buFont typeface="Arial" panose="020B0604020202020204" pitchFamily="34" charset="0"/>
              <a:buNone/>
            </a:pPr>
            <a:r>
              <a:rPr lang="en-US" sz="1600" b="1" dirty="0">
                <a:cs typeface="Arial"/>
              </a:rPr>
              <a:t>Click through URL Links to be used -</a:t>
            </a:r>
          </a:p>
          <a:p>
            <a:pPr marL="457200" indent="-457200" fontAlgn="auto">
              <a:lnSpc>
                <a:spcPct val="150000"/>
              </a:lnSpc>
              <a:spcAft>
                <a:spcPts val="0"/>
              </a:spcAft>
              <a:buFont typeface="+mj-lt"/>
              <a:buAutoNum type="arabicPeriod"/>
            </a:pPr>
            <a:r>
              <a:rPr lang="en-US" sz="1600" dirty="0">
                <a:cs typeface="Arial"/>
              </a:rPr>
              <a:t>News Section - gmalite://gmalite-news  </a:t>
            </a:r>
          </a:p>
          <a:p>
            <a:pPr marL="457200" indent="-457200" fontAlgn="auto">
              <a:lnSpc>
                <a:spcPct val="150000"/>
              </a:lnSpc>
              <a:spcAft>
                <a:spcPts val="0"/>
              </a:spcAft>
              <a:buFont typeface="+mj-lt"/>
              <a:buAutoNum type="arabicPeriod"/>
            </a:pPr>
            <a:r>
              <a:rPr lang="en-US" sz="1600" dirty="0">
                <a:cs typeface="Arial"/>
              </a:rPr>
              <a:t>Deal / Rewards Section - gmalite://gmalite-deals</a:t>
            </a:r>
          </a:p>
          <a:p>
            <a:pPr marL="457200" indent="-457200" fontAlgn="auto">
              <a:lnSpc>
                <a:spcPct val="150000"/>
              </a:lnSpc>
              <a:spcAft>
                <a:spcPts val="0"/>
              </a:spcAft>
              <a:buFont typeface="+mj-lt"/>
              <a:buAutoNum type="arabicPeriod"/>
            </a:pPr>
            <a:r>
              <a:rPr lang="en-US" sz="1600" dirty="0">
                <a:cs typeface="Arial"/>
              </a:rPr>
              <a:t>Particular Offer/Deal** - gmalite://gmalite-deals?offerid=&lt;offer id&gt;</a:t>
            </a:r>
          </a:p>
          <a:p>
            <a:pPr marL="457200" indent="-457200" fontAlgn="auto">
              <a:lnSpc>
                <a:spcPct val="150000"/>
              </a:lnSpc>
              <a:spcAft>
                <a:spcPts val="0"/>
              </a:spcAft>
              <a:buFont typeface="+mj-lt"/>
              <a:buAutoNum type="arabicPeriod"/>
            </a:pPr>
            <a:r>
              <a:rPr lang="en-US" sz="1600" dirty="0">
                <a:cs typeface="Arial"/>
              </a:rPr>
              <a:t>My Profile section - gmalite://gmalite-account</a:t>
            </a:r>
          </a:p>
          <a:p>
            <a:pPr marL="457200" indent="-457200" fontAlgn="auto">
              <a:lnSpc>
                <a:spcPct val="150000"/>
              </a:lnSpc>
              <a:spcAft>
                <a:spcPts val="0"/>
              </a:spcAft>
              <a:buFont typeface="+mj-lt"/>
              <a:buAutoNum type="arabicPeriod"/>
            </a:pPr>
            <a:r>
              <a:rPr lang="en-US" sz="1600" dirty="0">
                <a:cs typeface="Arial"/>
              </a:rPr>
              <a:t>Market Picker section - gmalite://gmalite-marketpicker </a:t>
            </a:r>
          </a:p>
          <a:p>
            <a:pPr marL="457200" indent="-457200" fontAlgn="auto">
              <a:lnSpc>
                <a:spcPct val="150000"/>
              </a:lnSpc>
              <a:spcAft>
                <a:spcPts val="0"/>
              </a:spcAft>
              <a:buFont typeface="+mj-lt"/>
              <a:buAutoNum type="arabicPeriod"/>
            </a:pPr>
            <a:r>
              <a:rPr lang="en-US" sz="1600" dirty="0">
                <a:cs typeface="Arial"/>
              </a:rPr>
              <a:t>Smart Web Views - </a:t>
            </a:r>
            <a:r>
              <a:rPr lang="en-US" sz="1600" dirty="0"/>
              <a:t>gmalite://gmalite-smartweb?weburl=&lt;</a:t>
            </a:r>
            <a:r>
              <a:rPr lang="en-US" sz="1600" b="1" i="1" dirty="0"/>
              <a:t>url</a:t>
            </a:r>
            <a:r>
              <a:rPr lang="en-US" sz="1600" dirty="0"/>
              <a:t>&gt;</a:t>
            </a:r>
            <a:endParaRPr lang="en-US" sz="1600" dirty="0">
              <a:cs typeface="Arial"/>
            </a:endParaRPr>
          </a:p>
          <a:p>
            <a:pPr lvl="3" fontAlgn="auto">
              <a:spcAft>
                <a:spcPts val="0"/>
              </a:spcAft>
            </a:pPr>
            <a:r>
              <a:rPr lang="en-US" sz="1600" dirty="0"/>
              <a:t>Example: gmalite://gmalite-smartweb?weburl=www.mcdonalds.com</a:t>
            </a:r>
          </a:p>
          <a:p>
            <a:pPr lvl="3" fontAlgn="auto">
              <a:spcAft>
                <a:spcPts val="0"/>
              </a:spcAft>
            </a:pPr>
            <a:endParaRPr lang="en-US" sz="1600" dirty="0"/>
          </a:p>
          <a:p>
            <a:pPr lvl="3" fontAlgn="auto">
              <a:spcAft>
                <a:spcPts val="0"/>
              </a:spcAft>
            </a:pPr>
            <a:r>
              <a:rPr lang="en-US" sz="1600" dirty="0"/>
              <a:t>** Separate URL can be configured for English &amp; Local language</a:t>
            </a:r>
          </a:p>
          <a:p>
            <a:pPr marL="0" indent="0" fontAlgn="auto">
              <a:lnSpc>
                <a:spcPct val="150000"/>
              </a:lnSpc>
              <a:spcAft>
                <a:spcPts val="0"/>
              </a:spcAft>
              <a:buFont typeface="Arial" panose="020B0604020202020204" pitchFamily="34" charset="0"/>
              <a:buNone/>
            </a:pPr>
            <a:endParaRPr lang="en-US" sz="1600" dirty="0">
              <a:cs typeface="Arial"/>
            </a:endParaRPr>
          </a:p>
        </p:txBody>
      </p:sp>
      <p:sp>
        <p:nvSpPr>
          <p:cNvPr id="6" name="6-Point Star 5"/>
          <p:cNvSpPr/>
          <p:nvPr/>
        </p:nvSpPr>
        <p:spPr>
          <a:xfrm>
            <a:off x="7647710" y="1471676"/>
            <a:ext cx="1371600" cy="1097280"/>
          </a:xfrm>
          <a:prstGeom prst="star6">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ysClr val="windowText" lastClr="000000"/>
                </a:solidFill>
              </a:rPr>
              <a:t>Very Important</a:t>
            </a:r>
          </a:p>
        </p:txBody>
      </p:sp>
    </p:spTree>
    <p:extLst>
      <p:ext uri="{BB962C8B-B14F-4D97-AF65-F5344CB8AC3E}">
        <p14:creationId xmlns:p14="http://schemas.microsoft.com/office/powerpoint/2010/main" val="92788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6</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Content Placeholder 2"/>
          <p:cNvSpPr txBox="1">
            <a:spLocks/>
          </p:cNvSpPr>
          <p:nvPr/>
        </p:nvSpPr>
        <p:spPr>
          <a:xfrm>
            <a:off x="1314776" y="1023217"/>
            <a:ext cx="10379147"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50000"/>
              </a:lnSpc>
              <a:spcAft>
                <a:spcPts val="0"/>
              </a:spcAft>
              <a:buFont typeface="Arial" panose="020B0604020202020204" pitchFamily="34" charset="0"/>
              <a:buNone/>
            </a:pPr>
            <a:r>
              <a:rPr lang="en-US" sz="1800" b="1" dirty="0">
                <a:cs typeface="Arial"/>
              </a:rPr>
              <a:t>Click through URL Links to be used -</a:t>
            </a:r>
          </a:p>
          <a:p>
            <a:pPr marL="0" indent="0" fontAlgn="auto">
              <a:lnSpc>
                <a:spcPct val="150000"/>
              </a:lnSpc>
              <a:spcAft>
                <a:spcPts val="0"/>
              </a:spcAft>
              <a:buFont typeface="Arial" panose="020B0604020202020204" pitchFamily="34" charset="0"/>
              <a:buNone/>
            </a:pPr>
            <a:r>
              <a:rPr lang="en-US" sz="1800" b="1" dirty="0">
                <a:cs typeface="Arial"/>
              </a:rPr>
              <a:t>Restaurant Finder- </a:t>
            </a:r>
          </a:p>
          <a:p>
            <a:pPr marL="457246" lvl="1" indent="-285750" fontAlgn="auto">
              <a:spcAft>
                <a:spcPts val="0"/>
              </a:spcAft>
              <a:buFont typeface="Arial" panose="020B0604020202020204" pitchFamily="34" charset="0"/>
              <a:buChar char="•"/>
            </a:pPr>
            <a:r>
              <a:rPr lang="en-US" sz="1800" dirty="0"/>
              <a:t>gmalite://gmalite-restaurant</a:t>
            </a:r>
          </a:p>
          <a:p>
            <a:pPr marL="457246" lvl="1" indent="-285750" fontAlgn="auto">
              <a:spcAft>
                <a:spcPts val="0"/>
              </a:spcAft>
              <a:buFont typeface="Arial" panose="020B0604020202020204" pitchFamily="34" charset="0"/>
              <a:buChar char="•"/>
            </a:pPr>
            <a:endParaRPr lang="en-US" sz="1800" dirty="0"/>
          </a:p>
          <a:p>
            <a:pPr marL="457246" lvl="1" indent="-285750" fontAlgn="auto">
              <a:spcAft>
                <a:spcPts val="0"/>
              </a:spcAft>
              <a:buFont typeface="Arial" panose="020B0604020202020204" pitchFamily="34" charset="0"/>
              <a:buChar char="•"/>
            </a:pPr>
            <a:r>
              <a:rPr lang="en-US" sz="1800" dirty="0"/>
              <a:t>gmalite://gmalite-restaurant?list=true</a:t>
            </a:r>
          </a:p>
          <a:p>
            <a:pPr marL="457246" lvl="1" indent="-285750" fontAlgn="auto">
              <a:spcAft>
                <a:spcPts val="0"/>
              </a:spcAft>
              <a:buFont typeface="Arial" panose="020B0604020202020204" pitchFamily="34" charset="0"/>
              <a:buChar char="•"/>
            </a:pPr>
            <a:endParaRPr lang="en-US" sz="1800" dirty="0"/>
          </a:p>
          <a:p>
            <a:pPr marL="457246" lvl="1" indent="-285750" fontAlgn="auto">
              <a:spcAft>
                <a:spcPts val="0"/>
              </a:spcAft>
              <a:buFont typeface="Arial" panose="020B0604020202020204" pitchFamily="34" charset="0"/>
              <a:buChar char="•"/>
            </a:pPr>
            <a:r>
              <a:rPr lang="en-US" sz="1800" dirty="0"/>
              <a:t>gmalite://gmalite-restaurant?restaurantid=&lt;restaurantid&gt;</a:t>
            </a:r>
          </a:p>
          <a:p>
            <a:pPr marL="0" indent="0" fontAlgn="auto">
              <a:lnSpc>
                <a:spcPct val="150000"/>
              </a:lnSpc>
              <a:spcAft>
                <a:spcPts val="0"/>
              </a:spcAft>
              <a:buFont typeface="Arial" panose="020B0604020202020204" pitchFamily="34" charset="0"/>
              <a:buNone/>
            </a:pPr>
            <a:r>
              <a:rPr lang="en-US" sz="1800" b="1" dirty="0">
                <a:cs typeface="Arial"/>
              </a:rPr>
              <a:t>Nutritional Section – </a:t>
            </a:r>
          </a:p>
          <a:p>
            <a:pPr marL="457246" lvl="1" indent="-285750" fontAlgn="auto">
              <a:spcAft>
                <a:spcPts val="0"/>
              </a:spcAft>
              <a:buFont typeface="Arial" panose="020B0604020202020204" pitchFamily="34" charset="0"/>
              <a:buChar char="•"/>
            </a:pPr>
            <a:r>
              <a:rPr lang="en-US" sz="1600" dirty="0"/>
              <a:t>gmalite://gmalite-smartweb?weburl=https://nutrition-web-dot-prd-euw-gmal-mcdonalds.appspot.com/&lt;country_code&gt;/&lt;language_code&gt;/home</a:t>
            </a:r>
          </a:p>
          <a:p>
            <a:pPr marL="457246" lvl="1" indent="-285750" fontAlgn="auto">
              <a:spcAft>
                <a:spcPts val="0"/>
              </a:spcAft>
              <a:buFont typeface="Arial" panose="020B0604020202020204" pitchFamily="34" charset="0"/>
              <a:buChar char="•"/>
            </a:pPr>
            <a:endParaRPr lang="en-US" sz="1600" dirty="0"/>
          </a:p>
          <a:p>
            <a:pPr marL="457246" lvl="1" indent="-285750" fontAlgn="auto">
              <a:spcAft>
                <a:spcPts val="0"/>
              </a:spcAft>
              <a:buFont typeface="Arial" panose="020B0604020202020204" pitchFamily="34" charset="0"/>
              <a:buChar char="•"/>
            </a:pPr>
            <a:r>
              <a:rPr lang="en-US" sz="1600" dirty="0"/>
              <a:t>gmalite://gmalite-smartweb?weburl=https://nutrition-web-dot-prd-euw-gmal-mcdonalds.appspot.com/&lt;country_code&gt;/&lt;language_code&gt;/category-view/&lt;category_id&gt;/ </a:t>
            </a:r>
          </a:p>
          <a:p>
            <a:pPr marL="457246" lvl="1" indent="-285750" fontAlgn="auto">
              <a:spcAft>
                <a:spcPts val="0"/>
              </a:spcAft>
              <a:buFont typeface="Arial" panose="020B0604020202020204" pitchFamily="34" charset="0"/>
              <a:buChar char="•"/>
            </a:pPr>
            <a:endParaRPr lang="en-US" sz="1600" dirty="0"/>
          </a:p>
          <a:p>
            <a:pPr marL="457246" lvl="1" indent="-285750" fontAlgn="auto">
              <a:spcAft>
                <a:spcPts val="0"/>
              </a:spcAft>
              <a:buFont typeface="Arial" panose="020B0604020202020204" pitchFamily="34" charset="0"/>
              <a:buChar char="•"/>
            </a:pPr>
            <a:r>
              <a:rPr lang="en-US" sz="1600" dirty="0"/>
              <a:t>gmalite://gmalite-smartweb?weburl=https://nutrition-web-dot-prd-euw-gmal-mcdonalds.appspot.com/&lt;country_code&gt;/&lt;language_code&gt;/item-view/&lt;category_ID&gt;/&lt;product_ID&gt;/ </a:t>
            </a:r>
          </a:p>
          <a:p>
            <a:pPr marL="0" indent="0" fontAlgn="auto">
              <a:lnSpc>
                <a:spcPct val="150000"/>
              </a:lnSpc>
              <a:spcAft>
                <a:spcPts val="0"/>
              </a:spcAft>
              <a:buFont typeface="Arial" panose="020B0604020202020204" pitchFamily="34" charset="0"/>
              <a:buNone/>
            </a:pPr>
            <a:endParaRPr lang="en-US" sz="1800" b="1" dirty="0">
              <a:cs typeface="Arial"/>
            </a:endParaRPr>
          </a:p>
        </p:txBody>
      </p:sp>
      <p:sp>
        <p:nvSpPr>
          <p:cNvPr id="5" name="6-Point Star 4"/>
          <p:cNvSpPr/>
          <p:nvPr/>
        </p:nvSpPr>
        <p:spPr>
          <a:xfrm>
            <a:off x="7409668" y="1526137"/>
            <a:ext cx="1371600" cy="1097280"/>
          </a:xfrm>
          <a:prstGeom prst="star6">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ysClr val="windowText" lastClr="000000"/>
                </a:solidFill>
              </a:rPr>
              <a:t>Very Important</a:t>
            </a:r>
          </a:p>
        </p:txBody>
      </p:sp>
      <p:sp>
        <p:nvSpPr>
          <p:cNvPr id="6" name="Title 1">
            <a:extLst>
              <a:ext uri="{FF2B5EF4-FFF2-40B4-BE49-F238E27FC236}">
                <a16:creationId xmlns:a16="http://schemas.microsoft.com/office/drawing/2014/main" id="{CEF8ED32-FD08-470A-8C4C-422E5A404BB3}"/>
              </a:ext>
            </a:extLst>
          </p:cNvPr>
          <p:cNvSpPr txBox="1">
            <a:spLocks/>
          </p:cNvSpPr>
          <p:nvPr/>
        </p:nvSpPr>
        <p:spPr>
          <a:xfrm>
            <a:off x="1001193" y="88819"/>
            <a:ext cx="9288568" cy="664686"/>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Linking Banners to different Section of App</a:t>
            </a:r>
          </a:p>
        </p:txBody>
      </p:sp>
    </p:spTree>
    <p:extLst>
      <p:ext uri="{BB962C8B-B14F-4D97-AF65-F5344CB8AC3E}">
        <p14:creationId xmlns:p14="http://schemas.microsoft.com/office/powerpoint/2010/main" val="35709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7</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1">
            <a:extLst>
              <a:ext uri="{FF2B5EF4-FFF2-40B4-BE49-F238E27FC236}">
                <a16:creationId xmlns:a16="http://schemas.microsoft.com/office/drawing/2014/main" id="{4AF8E406-93B9-49D8-A595-755C5E6CD666}"/>
              </a:ext>
            </a:extLst>
          </p:cNvPr>
          <p:cNvSpPr>
            <a:spLocks noGrp="1"/>
          </p:cNvSpPr>
          <p:nvPr>
            <p:ph type="ctrTitle" idx="4294967295"/>
          </p:nvPr>
        </p:nvSpPr>
        <p:spPr>
          <a:xfrm>
            <a:off x="1072861" y="0"/>
            <a:ext cx="8994775" cy="652463"/>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Web View Page Orientation</a:t>
            </a:r>
          </a:p>
        </p:txBody>
      </p:sp>
      <p:sp>
        <p:nvSpPr>
          <p:cNvPr id="5" name="Content Placeholder 2">
            <a:extLst>
              <a:ext uri="{FF2B5EF4-FFF2-40B4-BE49-F238E27FC236}">
                <a16:creationId xmlns:a16="http://schemas.microsoft.com/office/drawing/2014/main" id="{1F1036FF-0A87-4D22-90C2-897968918E54}"/>
              </a:ext>
            </a:extLst>
          </p:cNvPr>
          <p:cNvSpPr txBox="1">
            <a:spLocks/>
          </p:cNvSpPr>
          <p:nvPr/>
        </p:nvSpPr>
        <p:spPr>
          <a:xfrm>
            <a:off x="1488642" y="1167245"/>
            <a:ext cx="10205281" cy="4697846"/>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1800" dirty="0"/>
              <a:t>You can determine device orientation by specifying </a:t>
            </a:r>
            <a:r>
              <a:rPr lang="en-US" sz="1800" dirty="0" err="1"/>
              <a:t>appOrientation</a:t>
            </a:r>
            <a:r>
              <a:rPr lang="en-US" sz="1800" dirty="0"/>
              <a:t> in the </a:t>
            </a:r>
            <a:r>
              <a:rPr lang="en-US" sz="1800" dirty="0" err="1"/>
              <a:t>url</a:t>
            </a:r>
            <a:endParaRPr lang="en-US" sz="1800" dirty="0"/>
          </a:p>
          <a:p>
            <a:pPr fontAlgn="auto">
              <a:spcAft>
                <a:spcPts val="0"/>
              </a:spcAft>
            </a:pPr>
            <a:r>
              <a:rPr lang="en-US" sz="1800" dirty="0"/>
              <a:t>For example: </a:t>
            </a:r>
          </a:p>
          <a:p>
            <a:pPr marL="0" indent="0" fontAlgn="auto">
              <a:spcAft>
                <a:spcPts val="0"/>
              </a:spcAft>
              <a:buFont typeface="Arial" panose="020B0604020202020204" pitchFamily="34" charset="0"/>
              <a:buNone/>
            </a:pPr>
            <a:r>
              <a:rPr lang="en-US" sz="1800" b="1" dirty="0"/>
              <a:t>gmalite://gmalite-smartweb?weburl=</a:t>
            </a:r>
            <a:r>
              <a:rPr lang="en-US" sz="1800" b="1" dirty="0">
                <a:hlinkClick r:id="rId2"/>
              </a:rPr>
              <a:t>http://www.exampledomain.com/examplepage.html?appOrientation=landscape</a:t>
            </a:r>
            <a:endParaRPr lang="en-US" sz="1800" dirty="0"/>
          </a:p>
          <a:p>
            <a:pPr fontAlgn="auto">
              <a:spcAft>
                <a:spcPts val="0"/>
              </a:spcAft>
            </a:pPr>
            <a:r>
              <a:rPr lang="en-US" sz="1800" dirty="0"/>
              <a:t>This will launch and keep the smart web view in landscape until the user navigates to another section.</a:t>
            </a:r>
          </a:p>
          <a:p>
            <a:pPr fontAlgn="auto">
              <a:spcAft>
                <a:spcPts val="0"/>
              </a:spcAft>
            </a:pPr>
            <a:r>
              <a:rPr lang="en-US" sz="1800" dirty="0"/>
              <a:t>Valid options are: </a:t>
            </a:r>
          </a:p>
          <a:p>
            <a:pPr marL="628565" lvl="1" indent="-285750" fontAlgn="auto">
              <a:spcAft>
                <a:spcPts val="0"/>
              </a:spcAft>
              <a:buFont typeface="Arial" panose="020B0604020202020204" pitchFamily="34" charset="0"/>
              <a:buChar char="•"/>
            </a:pPr>
            <a:r>
              <a:rPr lang="en-US" sz="1800" dirty="0"/>
              <a:t>landscape, </a:t>
            </a:r>
          </a:p>
          <a:p>
            <a:pPr marL="628565" lvl="1" indent="-285750" fontAlgn="auto">
              <a:spcAft>
                <a:spcPts val="0"/>
              </a:spcAft>
              <a:buFont typeface="Arial" panose="020B0604020202020204" pitchFamily="34" charset="0"/>
              <a:buChar char="•"/>
            </a:pPr>
            <a:r>
              <a:rPr lang="en-US" sz="1800" dirty="0"/>
              <a:t>portrait and </a:t>
            </a:r>
          </a:p>
          <a:p>
            <a:pPr marL="628565" lvl="1" indent="-285750" fontAlgn="auto">
              <a:spcAft>
                <a:spcPts val="0"/>
              </a:spcAft>
              <a:buFont typeface="Arial" panose="020B0604020202020204" pitchFamily="34" charset="0"/>
              <a:buChar char="•"/>
            </a:pPr>
            <a:r>
              <a:rPr lang="en-US" sz="1800" dirty="0"/>
              <a:t>user</a:t>
            </a:r>
          </a:p>
          <a:p>
            <a:pPr fontAlgn="auto">
              <a:spcAft>
                <a:spcPts val="0"/>
              </a:spcAft>
            </a:pPr>
            <a:endParaRPr lang="en-US" sz="1800" dirty="0"/>
          </a:p>
        </p:txBody>
      </p:sp>
    </p:spTree>
    <p:extLst>
      <p:ext uri="{BB962C8B-B14F-4D97-AF65-F5344CB8AC3E}">
        <p14:creationId xmlns:p14="http://schemas.microsoft.com/office/powerpoint/2010/main" val="37740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8</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4" name="Group 3"/>
          <p:cNvGrpSpPr/>
          <p:nvPr/>
        </p:nvGrpSpPr>
        <p:grpSpPr>
          <a:xfrm>
            <a:off x="1209964" y="921114"/>
            <a:ext cx="4784941" cy="5119467"/>
            <a:chOff x="575130" y="1887731"/>
            <a:chExt cx="4339771" cy="3544469"/>
          </a:xfrm>
        </p:grpSpPr>
        <p:sp>
          <p:nvSpPr>
            <p:cNvPr id="5" name="object 2"/>
            <p:cNvSpPr/>
            <p:nvPr/>
          </p:nvSpPr>
          <p:spPr>
            <a:xfrm>
              <a:off x="575130" y="1887731"/>
              <a:ext cx="4339771" cy="1278245"/>
            </a:xfrm>
            <a:prstGeom prst="rect">
              <a:avLst/>
            </a:prstGeom>
            <a:blipFill>
              <a:blip r:embed="rId2" cstate="print"/>
              <a:stretch>
                <a:fillRect/>
              </a:stretch>
            </a:blipFill>
          </p:spPr>
          <p:txBody>
            <a:bodyPr wrap="square" lIns="0" tIns="0" rIns="0" bIns="0" rtlCol="0"/>
            <a:lstStyle/>
            <a:p>
              <a:endParaRPr sz="1350"/>
            </a:p>
          </p:txBody>
        </p:sp>
        <p:sp>
          <p:nvSpPr>
            <p:cNvPr id="6" name="object 9"/>
            <p:cNvSpPr/>
            <p:nvPr/>
          </p:nvSpPr>
          <p:spPr>
            <a:xfrm>
              <a:off x="575130" y="3165983"/>
              <a:ext cx="4339771" cy="2266217"/>
            </a:xfrm>
            <a:prstGeom prst="rect">
              <a:avLst/>
            </a:prstGeom>
            <a:blipFill>
              <a:blip r:embed="rId3" cstate="print"/>
              <a:stretch>
                <a:fillRect/>
              </a:stretch>
            </a:blipFill>
          </p:spPr>
          <p:txBody>
            <a:bodyPr wrap="square" lIns="0" tIns="0" rIns="0" bIns="0" rtlCol="0"/>
            <a:lstStyle/>
            <a:p>
              <a:endParaRPr sz="1350"/>
            </a:p>
          </p:txBody>
        </p:sp>
        <p:sp>
          <p:nvSpPr>
            <p:cNvPr id="7" name="object 11"/>
            <p:cNvSpPr txBox="1"/>
            <p:nvPr/>
          </p:nvSpPr>
          <p:spPr>
            <a:xfrm>
              <a:off x="1444828" y="2850357"/>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6</a:t>
              </a:r>
              <a:endParaRPr sz="900">
                <a:latin typeface="Arial"/>
                <a:cs typeface="Arial"/>
              </a:endParaRPr>
            </a:p>
          </p:txBody>
        </p:sp>
        <p:sp>
          <p:nvSpPr>
            <p:cNvPr id="8" name="object 13"/>
            <p:cNvSpPr txBox="1"/>
            <p:nvPr/>
          </p:nvSpPr>
          <p:spPr>
            <a:xfrm>
              <a:off x="1312098" y="4516651"/>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7</a:t>
              </a:r>
              <a:endParaRPr sz="900" dirty="0">
                <a:latin typeface="Arial"/>
                <a:cs typeface="Arial"/>
              </a:endParaRPr>
            </a:p>
          </p:txBody>
        </p:sp>
      </p:grpSp>
      <p:sp>
        <p:nvSpPr>
          <p:cNvPr id="9" name="object 8"/>
          <p:cNvSpPr txBox="1"/>
          <p:nvPr/>
        </p:nvSpPr>
        <p:spPr>
          <a:xfrm>
            <a:off x="5994905" y="1450301"/>
            <a:ext cx="5699019" cy="3729226"/>
          </a:xfrm>
          <a:prstGeom prst="rect">
            <a:avLst/>
          </a:prstGeom>
        </p:spPr>
        <p:txBody>
          <a:bodyPr vert="horz" wrap="square" lIns="0" tIns="0" rIns="0" bIns="0" rtlCol="0">
            <a:spAutoFit/>
          </a:bodyPr>
          <a:lstStyle/>
          <a:p>
            <a:pPr marL="0" marR="0" algn="just">
              <a:spcBef>
                <a:spcPts val="455"/>
              </a:spcBef>
              <a:spcAft>
                <a:spcPts val="0"/>
              </a:spcAft>
            </a:pPr>
            <a:r>
              <a:rPr lang="en-US" kern="1200" dirty="0">
                <a:solidFill>
                  <a:srgbClr val="000000"/>
                </a:solidFill>
                <a:effectLst/>
                <a:ea typeface="Times New Roman" panose="02020603050405020304" pitchFamily="18" charset="0"/>
              </a:rPr>
              <a:t>5. Select the No-compete group if you want platform </a:t>
            </a:r>
            <a:r>
              <a:rPr lang="en-US" kern="1200" spc="5" dirty="0">
                <a:solidFill>
                  <a:srgbClr val="000000"/>
                </a:solidFill>
                <a:effectLst/>
                <a:ea typeface="Times New Roman" panose="02020603050405020304" pitchFamily="18" charset="0"/>
              </a:rPr>
              <a:t>to </a:t>
            </a:r>
            <a:r>
              <a:rPr lang="en-US" kern="1200" dirty="0">
                <a:solidFill>
                  <a:srgbClr val="000000"/>
                </a:solidFill>
                <a:effectLst/>
                <a:ea typeface="Times New Roman" panose="02020603050405020304" pitchFamily="18" charset="0"/>
              </a:rPr>
              <a:t>only show one advertisement </a:t>
            </a:r>
            <a:r>
              <a:rPr lang="en-US" kern="1200" spc="5" dirty="0">
                <a:solidFill>
                  <a:srgbClr val="000000"/>
                </a:solidFill>
                <a:effectLst/>
                <a:ea typeface="Times New Roman" panose="02020603050405020304" pitchFamily="18" charset="0"/>
              </a:rPr>
              <a:t>from a  </a:t>
            </a:r>
            <a:r>
              <a:rPr lang="en-US" kern="1200" dirty="0">
                <a:solidFill>
                  <a:srgbClr val="000000"/>
                </a:solidFill>
                <a:effectLst/>
                <a:ea typeface="Times New Roman" panose="02020603050405020304" pitchFamily="18" charset="0"/>
              </a:rPr>
              <a:t>group of advertisement </a:t>
            </a:r>
            <a:r>
              <a:rPr lang="en-US" kern="1200" spc="5" dirty="0">
                <a:solidFill>
                  <a:srgbClr val="000000"/>
                </a:solidFill>
                <a:effectLst/>
                <a:ea typeface="Times New Roman" panose="02020603050405020304" pitchFamily="18" charset="0"/>
              </a:rPr>
              <a:t>in a </a:t>
            </a:r>
            <a:r>
              <a:rPr lang="en-US" kern="1200" dirty="0">
                <a:solidFill>
                  <a:srgbClr val="000000"/>
                </a:solidFill>
                <a:effectLst/>
                <a:ea typeface="Times New Roman" panose="02020603050405020304" pitchFamily="18" charset="0"/>
              </a:rPr>
              <a:t>group. The </a:t>
            </a:r>
            <a:r>
              <a:rPr lang="en-US" kern="1200" spc="-5" dirty="0">
                <a:solidFill>
                  <a:srgbClr val="000000"/>
                </a:solidFill>
                <a:effectLst/>
                <a:ea typeface="Times New Roman" panose="02020603050405020304" pitchFamily="18" charset="0"/>
              </a:rPr>
              <a:t>highest  </a:t>
            </a:r>
            <a:r>
              <a:rPr lang="en-US" kern="1200" dirty="0">
                <a:solidFill>
                  <a:srgbClr val="000000"/>
                </a:solidFill>
                <a:effectLst/>
                <a:ea typeface="Times New Roman" panose="02020603050405020304" pitchFamily="18" charset="0"/>
              </a:rPr>
              <a:t>ranking advertisement will appear first followed</a:t>
            </a:r>
            <a:r>
              <a:rPr lang="en-US" kern="1200" spc="5" dirty="0">
                <a:solidFill>
                  <a:srgbClr val="000000"/>
                </a:solidFill>
                <a:effectLst/>
                <a:ea typeface="Times New Roman" panose="02020603050405020304" pitchFamily="18" charset="0"/>
              </a:rPr>
              <a:t> </a:t>
            </a:r>
            <a:r>
              <a:rPr lang="en-US" kern="1200" dirty="0">
                <a:solidFill>
                  <a:srgbClr val="000000"/>
                </a:solidFill>
                <a:effectLst/>
                <a:ea typeface="Times New Roman" panose="02020603050405020304" pitchFamily="18" charset="0"/>
              </a:rPr>
              <a:t>by other</a:t>
            </a:r>
            <a:endParaRPr lang="en-US" dirty="0">
              <a:effectLst/>
              <a:ea typeface="Times New Roman" panose="02020603050405020304" pitchFamily="18" charset="0"/>
            </a:endParaRPr>
          </a:p>
          <a:p>
            <a:pPr marL="0" marR="0" algn="just">
              <a:spcBef>
                <a:spcPts val="455"/>
              </a:spcBef>
              <a:spcAft>
                <a:spcPts val="0"/>
              </a:spcAft>
            </a:pPr>
            <a:r>
              <a:rPr lang="en-US" kern="1200" dirty="0">
                <a:solidFill>
                  <a:srgbClr val="000000"/>
                </a:solidFill>
                <a:effectLst/>
                <a:ea typeface="Times New Roman" panose="02020603050405020304" pitchFamily="18" charset="0"/>
              </a:rPr>
              <a:t> </a:t>
            </a:r>
            <a:endParaRPr lang="en-US" dirty="0">
              <a:effectLst/>
              <a:ea typeface="Times New Roman" panose="02020603050405020304" pitchFamily="18" charset="0"/>
            </a:endParaRPr>
          </a:p>
          <a:p>
            <a:pPr marL="0" marR="0" algn="just"/>
            <a:r>
              <a:rPr lang="en-US" dirty="0">
                <a:effectLst/>
                <a:ea typeface="Times New Roman" panose="02020603050405020304" pitchFamily="18" charset="0"/>
              </a:rPr>
              <a:t>6. Upload the image for the advertisement. Images  uploaded using </a:t>
            </a:r>
            <a:r>
              <a:rPr lang="en-US" dirty="0" err="1">
                <a:effectLst/>
                <a:ea typeface="Times New Roman" panose="02020603050405020304" pitchFamily="18" charset="0"/>
              </a:rPr>
              <a:t>Plexure</a:t>
            </a:r>
            <a:r>
              <a:rPr lang="en-US" dirty="0">
                <a:effectLst/>
                <a:ea typeface="Times New Roman" panose="02020603050405020304" pitchFamily="18" charset="0"/>
              </a:rPr>
              <a:t> platform have to be  uploaded with recommended size of </a:t>
            </a:r>
            <a:r>
              <a:rPr lang="en-US" b="1" dirty="0">
                <a:effectLst/>
                <a:ea typeface="Times New Roman" panose="02020603050405020304" pitchFamily="18" charset="0"/>
              </a:rPr>
              <a:t>1200 x 1200  px</a:t>
            </a:r>
            <a:r>
              <a:rPr lang="en-US" dirty="0">
                <a:effectLst/>
                <a:ea typeface="Times New Roman" panose="02020603050405020304" pitchFamily="18" charset="0"/>
              </a:rPr>
              <a:t>. </a:t>
            </a:r>
            <a:r>
              <a:rPr lang="en-US" dirty="0" err="1">
                <a:effectLst/>
                <a:ea typeface="Times New Roman" panose="02020603050405020304" pitchFamily="18" charset="0"/>
              </a:rPr>
              <a:t>Plexure</a:t>
            </a:r>
            <a:r>
              <a:rPr lang="en-US" dirty="0">
                <a:effectLst/>
                <a:ea typeface="Times New Roman" panose="02020603050405020304" pitchFamily="18" charset="0"/>
              </a:rPr>
              <a:t> platform can automatically crop  them after uploading</a:t>
            </a:r>
          </a:p>
          <a:p>
            <a:pPr marL="0" marR="0" algn="just">
              <a:spcBef>
                <a:spcPts val="455"/>
              </a:spcBef>
              <a:spcAft>
                <a:spcPts val="0"/>
              </a:spcAft>
            </a:pPr>
            <a:r>
              <a:rPr lang="en-US" dirty="0">
                <a:effectLst/>
                <a:ea typeface="Times New Roman" panose="02020603050405020304" pitchFamily="18" charset="0"/>
              </a:rPr>
              <a:t> </a:t>
            </a:r>
          </a:p>
          <a:p>
            <a:pPr marL="0" marR="0" algn="just"/>
            <a:r>
              <a:rPr lang="en-US" dirty="0">
                <a:effectLst/>
                <a:ea typeface="Times New Roman" panose="02020603050405020304" pitchFamily="18" charset="0"/>
              </a:rPr>
              <a:t>7. </a:t>
            </a:r>
            <a:r>
              <a:rPr lang="en-US" dirty="0">
                <a:ea typeface="Times New Roman" panose="02020603050405020304" pitchFamily="18" charset="0"/>
              </a:rPr>
              <a:t>S</a:t>
            </a:r>
            <a:r>
              <a:rPr lang="en-US" dirty="0">
                <a:effectLst/>
                <a:ea typeface="Times New Roman" panose="02020603050405020304" pitchFamily="18" charset="0"/>
              </a:rPr>
              <a:t>elect the tags to make the  advertisement available for a specific customer  profile (segmentation), app usage behavior or  device specific properties</a:t>
            </a:r>
          </a:p>
        </p:txBody>
      </p:sp>
      <p:sp>
        <p:nvSpPr>
          <p:cNvPr id="10" name="object 3">
            <a:extLst>
              <a:ext uri="{FF2B5EF4-FFF2-40B4-BE49-F238E27FC236}">
                <a16:creationId xmlns:a16="http://schemas.microsoft.com/office/drawing/2014/main" id="{EF5CFA77-6B13-44E7-A2B8-FC5DBB50037F}"/>
              </a:ext>
            </a:extLst>
          </p:cNvPr>
          <p:cNvSpPr txBox="1">
            <a:spLocks/>
          </p:cNvSpPr>
          <p:nvPr/>
        </p:nvSpPr>
        <p:spPr>
          <a:xfrm>
            <a:off x="1054954" y="-77700"/>
            <a:ext cx="7239786"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err="1">
                <a:latin typeface="+mj-lt"/>
                <a:ea typeface="+mj-ea"/>
                <a:cs typeface="+mj-cs"/>
              </a:rPr>
              <a:t>Plexure</a:t>
            </a:r>
            <a:r>
              <a:rPr lang="en-US" sz="3299" dirty="0">
                <a:latin typeface="+mj-lt"/>
                <a:ea typeface="+mj-ea"/>
                <a:cs typeface="+mj-cs"/>
              </a:rPr>
              <a:t> Advertisement Creation</a:t>
            </a:r>
          </a:p>
        </p:txBody>
      </p:sp>
    </p:spTree>
    <p:extLst>
      <p:ext uri="{BB962C8B-B14F-4D97-AF65-F5344CB8AC3E}">
        <p14:creationId xmlns:p14="http://schemas.microsoft.com/office/powerpoint/2010/main" val="55443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39</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4"/>
          <p:cNvSpPr txBox="1">
            <a:spLocks/>
          </p:cNvSpPr>
          <p:nvPr/>
        </p:nvSpPr>
        <p:spPr>
          <a:xfrm>
            <a:off x="5210751" y="1220644"/>
            <a:ext cx="6483173" cy="4793107"/>
          </a:xfrm>
          <a:prstGeom prst="rect">
            <a:avLst/>
          </a:prstGeom>
        </p:spPr>
        <p:txBody>
          <a:bodyPr vert="horz" wrap="square" lIns="0" tIns="0" rIns="0" bIns="0" rtlCol="0">
            <a:sp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525" marR="103346" algn="just" fontAlgn="auto">
              <a:spcAft>
                <a:spcPts val="0"/>
              </a:spcAft>
              <a:buFont typeface="Arial" panose="020B0604020202020204" pitchFamily="34" charset="0"/>
              <a:buAutoNum type="arabicPeriod" startAt="8"/>
              <a:tabLst>
                <a:tab pos="157163" algn="l"/>
              </a:tabLst>
            </a:pPr>
            <a:r>
              <a:rPr lang="en-IN" sz="1600" spc="-8" dirty="0"/>
              <a:t>Weighting </a:t>
            </a:r>
            <a:r>
              <a:rPr lang="en-IN" sz="1600" dirty="0"/>
              <a:t>- </a:t>
            </a:r>
            <a:r>
              <a:rPr lang="en-IN" sz="1600" spc="-8" dirty="0"/>
              <a:t>Weight </a:t>
            </a:r>
            <a:r>
              <a:rPr lang="en-IN" sz="1600" spc="-4" dirty="0"/>
              <a:t>determines order priority of the  advertisement on the </a:t>
            </a:r>
            <a:r>
              <a:rPr lang="en-IN" sz="1600" spc="-8" dirty="0"/>
              <a:t>offer </a:t>
            </a:r>
            <a:r>
              <a:rPr lang="en-IN" sz="1600" spc="-4" dirty="0"/>
              <a:t>list. The higher the weight, the  higher its order on the advertisement</a:t>
            </a:r>
            <a:r>
              <a:rPr lang="en-IN" sz="1600" spc="-26" dirty="0"/>
              <a:t> </a:t>
            </a:r>
            <a:r>
              <a:rPr lang="en-IN" sz="1600" spc="-4" dirty="0"/>
              <a:t>carousel</a:t>
            </a:r>
          </a:p>
          <a:p>
            <a:pPr marR="3810" algn="just" fontAlgn="auto">
              <a:spcAft>
                <a:spcPts val="0"/>
              </a:spcAft>
            </a:pPr>
            <a:r>
              <a:rPr lang="en-IN" sz="1600" i="1" spc="-4" dirty="0"/>
              <a:t>Base </a:t>
            </a:r>
            <a:r>
              <a:rPr lang="en-IN" sz="1600" i="1" spc="-8" dirty="0"/>
              <a:t>Weight </a:t>
            </a:r>
            <a:r>
              <a:rPr lang="en-IN" sz="1600" i="1" dirty="0"/>
              <a:t>– </a:t>
            </a:r>
            <a:r>
              <a:rPr lang="en-IN" sz="1600" i="1" spc="-4" dirty="0"/>
              <a:t>Input </a:t>
            </a:r>
            <a:r>
              <a:rPr lang="en-IN" sz="1600" i="1" dirty="0"/>
              <a:t>a </a:t>
            </a:r>
            <a:r>
              <a:rPr lang="en-IN" sz="1600" i="1" spc="-4" dirty="0"/>
              <a:t>base weight for the advertisement to  control</a:t>
            </a:r>
            <a:r>
              <a:rPr lang="en-IN" sz="1600" i="1" spc="-64" dirty="0"/>
              <a:t> </a:t>
            </a:r>
            <a:r>
              <a:rPr lang="en-IN" sz="1600" i="1" spc="-4" dirty="0"/>
              <a:t>order</a:t>
            </a:r>
          </a:p>
          <a:p>
            <a:pPr algn="just" fontAlgn="auto">
              <a:spcBef>
                <a:spcPts val="19"/>
              </a:spcBef>
              <a:spcAft>
                <a:spcPts val="0"/>
              </a:spcAft>
            </a:pPr>
            <a:endParaRPr lang="en-IN" sz="1600" i="1" dirty="0">
              <a:cs typeface="Times New Roman"/>
            </a:endParaRPr>
          </a:p>
          <a:p>
            <a:pPr marR="33338" algn="just" fontAlgn="auto">
              <a:spcAft>
                <a:spcPts val="0"/>
              </a:spcAft>
            </a:pPr>
            <a:r>
              <a:rPr lang="en-IN" sz="1600" i="1" spc="-4" dirty="0"/>
              <a:t>Consumer tag weight </a:t>
            </a:r>
            <a:r>
              <a:rPr lang="en-IN" sz="1600" i="1" dirty="0"/>
              <a:t>- </a:t>
            </a:r>
            <a:r>
              <a:rPr lang="en-IN" sz="1600" i="1" spc="-8" dirty="0"/>
              <a:t>Weight </a:t>
            </a:r>
            <a:r>
              <a:rPr lang="en-IN" sz="1600" i="1" spc="-4" dirty="0"/>
              <a:t>can be modified depending  on segmentation. If you want the advertisement to be  displayed higher </a:t>
            </a:r>
            <a:r>
              <a:rPr lang="en-IN" sz="1600" i="1" dirty="0"/>
              <a:t>in </a:t>
            </a:r>
            <a:r>
              <a:rPr lang="en-IN" sz="1600" i="1" spc="-4" dirty="0"/>
              <a:t>the </a:t>
            </a:r>
            <a:r>
              <a:rPr lang="en-IN" sz="1600" i="1" dirty="0"/>
              <a:t>list </a:t>
            </a:r>
            <a:r>
              <a:rPr lang="en-IN" sz="1600" i="1" spc="-4" dirty="0"/>
              <a:t>to </a:t>
            </a:r>
            <a:r>
              <a:rPr lang="en-IN" sz="1600" i="1" dirty="0"/>
              <a:t>a </a:t>
            </a:r>
            <a:r>
              <a:rPr lang="en-IN" sz="1600" i="1" spc="-4" dirty="0"/>
              <a:t>particular type of  customers, select relevant tags or segments</a:t>
            </a:r>
            <a:r>
              <a:rPr lang="en-IN" sz="1600" i="1" spc="-19" dirty="0"/>
              <a:t> </a:t>
            </a:r>
            <a:r>
              <a:rPr lang="en-IN" sz="1600" i="1" spc="-4" dirty="0"/>
              <a:t>here</a:t>
            </a:r>
          </a:p>
          <a:p>
            <a:pPr algn="just" fontAlgn="auto">
              <a:spcBef>
                <a:spcPts val="19"/>
              </a:spcBef>
              <a:spcAft>
                <a:spcPts val="0"/>
              </a:spcAft>
            </a:pPr>
            <a:endParaRPr lang="en-IN" sz="1600" i="1" dirty="0">
              <a:cs typeface="Times New Roman"/>
            </a:endParaRPr>
          </a:p>
          <a:p>
            <a:pPr marR="168116" algn="just" fontAlgn="auto">
              <a:spcAft>
                <a:spcPts val="0"/>
              </a:spcAft>
            </a:pPr>
            <a:r>
              <a:rPr lang="en-IN" sz="1600" i="1" spc="-15" dirty="0"/>
              <a:t>Time </a:t>
            </a:r>
            <a:r>
              <a:rPr lang="en-IN" sz="1600" i="1" spc="-4" dirty="0"/>
              <a:t>based weight </a:t>
            </a:r>
            <a:r>
              <a:rPr lang="en-IN" sz="1600" i="1" dirty="0"/>
              <a:t>– </a:t>
            </a:r>
            <a:r>
              <a:rPr lang="en-IN" sz="1600" i="1" spc="-4" dirty="0"/>
              <a:t>If this check box </a:t>
            </a:r>
            <a:r>
              <a:rPr lang="en-IN" sz="1600" i="1" dirty="0"/>
              <a:t>is </a:t>
            </a:r>
            <a:r>
              <a:rPr lang="en-IN" sz="1600" i="1" spc="-4" dirty="0"/>
              <a:t>ticked, platform  </a:t>
            </a:r>
            <a:r>
              <a:rPr lang="en-IN" sz="1600" i="1" dirty="0"/>
              <a:t>will </a:t>
            </a:r>
            <a:r>
              <a:rPr lang="en-IN" sz="1600" i="1" spc="-4" dirty="0"/>
              <a:t>add additional weight automatically closer to the  ‘event’ start</a:t>
            </a:r>
            <a:r>
              <a:rPr lang="en-IN" sz="1600" i="1" spc="-90" dirty="0"/>
              <a:t> </a:t>
            </a:r>
            <a:r>
              <a:rPr lang="en-IN" sz="1600" i="1" spc="-4" dirty="0"/>
              <a:t>time</a:t>
            </a:r>
          </a:p>
          <a:p>
            <a:pPr algn="just" fontAlgn="auto">
              <a:spcBef>
                <a:spcPts val="34"/>
              </a:spcBef>
              <a:spcAft>
                <a:spcPts val="0"/>
              </a:spcAft>
            </a:pPr>
            <a:endParaRPr lang="en-IN" sz="1600" dirty="0">
              <a:cs typeface="Times New Roman"/>
            </a:endParaRPr>
          </a:p>
          <a:p>
            <a:pPr marL="9525" marR="48101" algn="just" fontAlgn="auto">
              <a:spcAft>
                <a:spcPts val="0"/>
              </a:spcAft>
              <a:buFont typeface="Arial" panose="020B0604020202020204" pitchFamily="34" charset="0"/>
              <a:buAutoNum type="arabicPeriod" startAt="9"/>
              <a:tabLst>
                <a:tab pos="157163" algn="l"/>
              </a:tabLst>
            </a:pPr>
            <a:r>
              <a:rPr lang="en-IN" sz="1600" spc="-4" dirty="0"/>
              <a:t>Press Publish to make the Advertisement ‘Live’ or</a:t>
            </a:r>
            <a:r>
              <a:rPr lang="en-IN" sz="1600" spc="-83" dirty="0"/>
              <a:t> </a:t>
            </a:r>
            <a:r>
              <a:rPr lang="en-IN" sz="1600" spc="-4" dirty="0"/>
              <a:t>Save  as Draft button to save the advertisement </a:t>
            </a:r>
            <a:r>
              <a:rPr lang="en-IN" sz="1600" dirty="0"/>
              <a:t>in a </a:t>
            </a:r>
            <a:r>
              <a:rPr lang="en-IN" sz="1600" spc="-4" dirty="0"/>
              <a:t>draft state  for making further changes at </a:t>
            </a:r>
            <a:r>
              <a:rPr lang="en-IN" sz="1600" dirty="0"/>
              <a:t>a </a:t>
            </a:r>
            <a:r>
              <a:rPr lang="en-IN" sz="1600" spc="-4" dirty="0"/>
              <a:t>later</a:t>
            </a:r>
            <a:r>
              <a:rPr lang="en-IN" sz="1600" spc="-38" dirty="0"/>
              <a:t> </a:t>
            </a:r>
            <a:r>
              <a:rPr lang="en-IN" sz="1600" spc="-4" dirty="0"/>
              <a:t>time</a:t>
            </a:r>
          </a:p>
        </p:txBody>
      </p:sp>
      <p:grpSp>
        <p:nvGrpSpPr>
          <p:cNvPr id="5" name="Group 4"/>
          <p:cNvGrpSpPr/>
          <p:nvPr/>
        </p:nvGrpSpPr>
        <p:grpSpPr>
          <a:xfrm>
            <a:off x="1455083" y="1133072"/>
            <a:ext cx="3233753" cy="5182506"/>
            <a:chOff x="579556" y="2023338"/>
            <a:chExt cx="4363916" cy="3403053"/>
          </a:xfrm>
        </p:grpSpPr>
        <p:sp>
          <p:nvSpPr>
            <p:cNvPr id="6" name="object 2"/>
            <p:cNvSpPr/>
            <p:nvPr/>
          </p:nvSpPr>
          <p:spPr>
            <a:xfrm>
              <a:off x="579556" y="2023338"/>
              <a:ext cx="4363916" cy="1885950"/>
            </a:xfrm>
            <a:prstGeom prst="rect">
              <a:avLst/>
            </a:prstGeom>
            <a:blipFill>
              <a:blip r:embed="rId2" cstate="print"/>
              <a:stretch>
                <a:fillRect/>
              </a:stretch>
            </a:blipFill>
          </p:spPr>
          <p:txBody>
            <a:bodyPr wrap="square" lIns="0" tIns="0" rIns="0" bIns="0" rtlCol="0"/>
            <a:lstStyle/>
            <a:p>
              <a:endParaRPr sz="1350"/>
            </a:p>
          </p:txBody>
        </p:sp>
        <p:sp>
          <p:nvSpPr>
            <p:cNvPr id="7" name="object 6"/>
            <p:cNvSpPr txBox="1"/>
            <p:nvPr/>
          </p:nvSpPr>
          <p:spPr>
            <a:xfrm>
              <a:off x="1837258" y="2225783"/>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8</a:t>
              </a:r>
              <a:endParaRPr sz="900">
                <a:latin typeface="Arial"/>
                <a:cs typeface="Arial"/>
              </a:endParaRPr>
            </a:p>
          </p:txBody>
        </p:sp>
        <p:sp>
          <p:nvSpPr>
            <p:cNvPr id="8" name="object 7"/>
            <p:cNvSpPr/>
            <p:nvPr/>
          </p:nvSpPr>
          <p:spPr>
            <a:xfrm>
              <a:off x="579556" y="3900496"/>
              <a:ext cx="4363916" cy="1525895"/>
            </a:xfrm>
            <a:prstGeom prst="rect">
              <a:avLst/>
            </a:prstGeom>
            <a:blipFill>
              <a:blip r:embed="rId3" cstate="print"/>
              <a:stretch>
                <a:fillRect/>
              </a:stretch>
            </a:blipFill>
          </p:spPr>
          <p:txBody>
            <a:bodyPr wrap="square" lIns="0" tIns="0" rIns="0" bIns="0" rtlCol="0"/>
            <a:lstStyle/>
            <a:p>
              <a:endParaRPr sz="1350"/>
            </a:p>
          </p:txBody>
        </p:sp>
        <p:sp>
          <p:nvSpPr>
            <p:cNvPr id="9" name="object 9"/>
            <p:cNvSpPr txBox="1"/>
            <p:nvPr/>
          </p:nvSpPr>
          <p:spPr>
            <a:xfrm>
              <a:off x="1562938" y="4874791"/>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9</a:t>
              </a:r>
              <a:endParaRPr sz="900">
                <a:latin typeface="Arial"/>
                <a:cs typeface="Arial"/>
              </a:endParaRPr>
            </a:p>
          </p:txBody>
        </p:sp>
      </p:grpSp>
      <p:sp>
        <p:nvSpPr>
          <p:cNvPr id="10" name="object 3">
            <a:extLst>
              <a:ext uri="{FF2B5EF4-FFF2-40B4-BE49-F238E27FC236}">
                <a16:creationId xmlns:a16="http://schemas.microsoft.com/office/drawing/2014/main" id="{A07120BC-E5D7-457C-BBDF-363B88F091BD}"/>
              </a:ext>
            </a:extLst>
          </p:cNvPr>
          <p:cNvSpPr txBox="1">
            <a:spLocks/>
          </p:cNvSpPr>
          <p:nvPr/>
        </p:nvSpPr>
        <p:spPr>
          <a:xfrm>
            <a:off x="932873" y="42879"/>
            <a:ext cx="7239786"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a:latin typeface="+mj-lt"/>
                <a:ea typeface="+mj-ea"/>
                <a:cs typeface="+mj-cs"/>
              </a:rPr>
              <a:t>Plexure Advertisement Creation</a:t>
            </a:r>
            <a:endParaRPr lang="en-US" sz="3299" dirty="0">
              <a:latin typeface="+mj-lt"/>
              <a:ea typeface="+mj-ea"/>
              <a:cs typeface="+mj-cs"/>
            </a:endParaRPr>
          </a:p>
        </p:txBody>
      </p:sp>
    </p:spTree>
    <p:extLst>
      <p:ext uri="{BB962C8B-B14F-4D97-AF65-F5344CB8AC3E}">
        <p14:creationId xmlns:p14="http://schemas.microsoft.com/office/powerpoint/2010/main" val="295447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pic>
        <p:nvPicPr>
          <p:cNvPr id="7" name="Picture 6">
            <a:extLst>
              <a:ext uri="{FF2B5EF4-FFF2-40B4-BE49-F238E27FC236}">
                <a16:creationId xmlns:a16="http://schemas.microsoft.com/office/drawing/2014/main" id="{8DE3EC47-9183-4365-A916-56859279BBEC}"/>
              </a:ext>
            </a:extLst>
          </p:cNvPr>
          <p:cNvPicPr>
            <a:picLocks noChangeAspect="1"/>
          </p:cNvPicPr>
          <p:nvPr/>
        </p:nvPicPr>
        <p:blipFill>
          <a:blip r:embed="rId3"/>
          <a:stretch>
            <a:fillRect/>
          </a:stretch>
        </p:blipFill>
        <p:spPr>
          <a:xfrm>
            <a:off x="1500375" y="688109"/>
            <a:ext cx="9321641" cy="5925128"/>
          </a:xfrm>
          <a:prstGeom prst="rect">
            <a:avLst/>
          </a:prstGeom>
        </p:spPr>
      </p:pic>
      <p:sp>
        <p:nvSpPr>
          <p:cNvPr id="8" name="TextBox 7">
            <a:extLst>
              <a:ext uri="{FF2B5EF4-FFF2-40B4-BE49-F238E27FC236}">
                <a16:creationId xmlns:a16="http://schemas.microsoft.com/office/drawing/2014/main" id="{E51DD521-B83A-4212-864A-696A55B4BF26}"/>
              </a:ext>
            </a:extLst>
          </p:cNvPr>
          <p:cNvSpPr txBox="1"/>
          <p:nvPr/>
        </p:nvSpPr>
        <p:spPr>
          <a:xfrm>
            <a:off x="1500375" y="117342"/>
            <a:ext cx="5086350" cy="523220"/>
          </a:xfrm>
          <a:prstGeom prst="rect">
            <a:avLst/>
          </a:prstGeom>
          <a:noFill/>
        </p:spPr>
        <p:txBody>
          <a:bodyPr wrap="square" rtlCol="0">
            <a:spAutoFit/>
          </a:bodyPr>
          <a:lstStyle/>
          <a:p>
            <a:r>
              <a:rPr lang="en-IN" sz="2800" b="1" dirty="0">
                <a:latin typeface="Montserrat Semi Bold"/>
                <a:ea typeface="ＭＳ Ｐゴシック" charset="-128"/>
              </a:rPr>
              <a:t>Plexure Overview </a:t>
            </a:r>
          </a:p>
        </p:txBody>
      </p:sp>
    </p:spTree>
    <p:extLst>
      <p:ext uri="{BB962C8B-B14F-4D97-AF65-F5344CB8AC3E}">
        <p14:creationId xmlns:p14="http://schemas.microsoft.com/office/powerpoint/2010/main" val="354965595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0</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1">
            <a:extLst>
              <a:ext uri="{FF2B5EF4-FFF2-40B4-BE49-F238E27FC236}">
                <a16:creationId xmlns:a16="http://schemas.microsoft.com/office/drawing/2014/main" id="{F1C9F52E-25F7-454D-B4AE-11AF34E15606}"/>
              </a:ext>
            </a:extLst>
          </p:cNvPr>
          <p:cNvSpPr>
            <a:spLocks noGrp="1"/>
          </p:cNvSpPr>
          <p:nvPr>
            <p:ph type="ctrTitle" idx="4294967295"/>
          </p:nvPr>
        </p:nvSpPr>
        <p:spPr>
          <a:xfrm>
            <a:off x="997527" y="123825"/>
            <a:ext cx="6334125" cy="654050"/>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Dynamic Copy </a:t>
            </a:r>
          </a:p>
        </p:txBody>
      </p:sp>
      <p:sp>
        <p:nvSpPr>
          <p:cNvPr id="5" name="Content Placeholder 2">
            <a:extLst>
              <a:ext uri="{FF2B5EF4-FFF2-40B4-BE49-F238E27FC236}">
                <a16:creationId xmlns:a16="http://schemas.microsoft.com/office/drawing/2014/main" id="{D5DE772A-36A8-4328-B8F6-AEFF5A402486}"/>
              </a:ext>
            </a:extLst>
          </p:cNvPr>
          <p:cNvSpPr txBox="1">
            <a:spLocks/>
          </p:cNvSpPr>
          <p:nvPr/>
        </p:nvSpPr>
        <p:spPr>
          <a:xfrm>
            <a:off x="1487053" y="1348509"/>
            <a:ext cx="7265995"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auto">
              <a:spcAft>
                <a:spcPts val="0"/>
              </a:spcAft>
            </a:pPr>
            <a:r>
              <a:rPr lang="en-US" sz="2000" dirty="0">
                <a:hlinkClick r:id="rId2"/>
              </a:rPr>
              <a:t>Offers</a:t>
            </a:r>
            <a:r>
              <a:rPr lang="en-US" sz="2000" dirty="0"/>
              <a:t> and </a:t>
            </a:r>
            <a:r>
              <a:rPr lang="en-US" sz="2000" dirty="0">
                <a:hlinkClick r:id="rId3"/>
              </a:rPr>
              <a:t>Banner Ads</a:t>
            </a:r>
            <a:r>
              <a:rPr lang="en-US" sz="2000" dirty="0"/>
              <a:t> can now include customer's first and last names in the titles or descriptions to give a more personal touch to the message </a:t>
            </a:r>
          </a:p>
          <a:p>
            <a:pPr algn="just" fontAlgn="auto">
              <a:spcAft>
                <a:spcPts val="0"/>
              </a:spcAft>
            </a:pPr>
            <a:endParaRPr lang="en-US" sz="2000" dirty="0"/>
          </a:p>
          <a:p>
            <a:pPr algn="just" fontAlgn="auto">
              <a:spcAft>
                <a:spcPts val="0"/>
              </a:spcAft>
            </a:pPr>
            <a:r>
              <a:rPr lang="en-US" sz="2000" dirty="0"/>
              <a:t>This is how you would write the Banner Ad title in the example shown on the right:</a:t>
            </a:r>
          </a:p>
          <a:p>
            <a:pPr marL="0" indent="0" fontAlgn="auto">
              <a:spcAft>
                <a:spcPts val="0"/>
              </a:spcAft>
              <a:buFont typeface="Arial" panose="020B0604020202020204" pitchFamily="34" charset="0"/>
              <a:buNone/>
            </a:pPr>
            <a:endParaRPr lang="en-US" sz="2000" dirty="0"/>
          </a:p>
          <a:p>
            <a:pPr marL="0" indent="0" fontAlgn="auto">
              <a:spcAft>
                <a:spcPts val="0"/>
              </a:spcAft>
              <a:buFont typeface="Arial" panose="020B0604020202020204" pitchFamily="34" charset="0"/>
              <a:buNone/>
            </a:pPr>
            <a:r>
              <a:rPr lang="en-US" sz="2000" dirty="0"/>
              <a:t>Welcome </a:t>
            </a:r>
            <a:r>
              <a:rPr lang="en-US" sz="2000" dirty="0">
                <a:solidFill>
                  <a:schemeClr val="tx2"/>
                </a:solidFill>
              </a:rPr>
              <a:t>{{#</a:t>
            </a:r>
            <a:r>
              <a:rPr lang="en-US" sz="2000" dirty="0" err="1">
                <a:solidFill>
                  <a:schemeClr val="tx2"/>
                </a:solidFill>
              </a:rPr>
              <a:t>firstName</a:t>
            </a:r>
            <a:r>
              <a:rPr lang="en-US" sz="2000" dirty="0">
                <a:solidFill>
                  <a:schemeClr val="tx2"/>
                </a:solidFill>
              </a:rPr>
              <a:t>}}, </a:t>
            </a:r>
            <a:r>
              <a:rPr lang="en-US" sz="2000" dirty="0"/>
              <a:t>{{</a:t>
            </a:r>
            <a:r>
              <a:rPr lang="en-US" sz="2000" dirty="0" err="1"/>
              <a:t>firstName</a:t>
            </a:r>
            <a:r>
              <a:rPr lang="en-US" sz="2000" dirty="0"/>
              <a:t>}}</a:t>
            </a:r>
          </a:p>
          <a:p>
            <a:pPr marL="0" indent="0" fontAlgn="auto">
              <a:spcAft>
                <a:spcPts val="0"/>
              </a:spcAft>
              <a:buFont typeface="Arial" panose="020B0604020202020204" pitchFamily="34" charset="0"/>
              <a:buNone/>
            </a:pPr>
            <a:r>
              <a:rPr lang="en-US" sz="2000" dirty="0">
                <a:solidFill>
                  <a:srgbClr val="FF0000"/>
                </a:solidFill>
              </a:rPr>
              <a:t>{{/</a:t>
            </a:r>
            <a:r>
              <a:rPr lang="en-US" sz="2000" dirty="0" err="1">
                <a:solidFill>
                  <a:srgbClr val="FF0000"/>
                </a:solidFill>
              </a:rPr>
              <a:t>firstName</a:t>
            </a:r>
            <a:r>
              <a:rPr lang="en-US" sz="2000" dirty="0">
                <a:solidFill>
                  <a:srgbClr val="FF0000"/>
                </a:solidFill>
              </a:rPr>
              <a:t>}}</a:t>
            </a:r>
            <a:r>
              <a:rPr lang="en-US" sz="2000" dirty="0"/>
              <a:t>!</a:t>
            </a:r>
          </a:p>
          <a:p>
            <a:pPr algn="just" fontAlgn="auto">
              <a:spcAft>
                <a:spcPts val="0"/>
              </a:spcAft>
            </a:pPr>
            <a:endParaRPr lang="en-US" sz="2000" dirty="0"/>
          </a:p>
        </p:txBody>
      </p:sp>
      <p:sp>
        <p:nvSpPr>
          <p:cNvPr id="6" name="AutoShape 2" descr="https://us-confluence.mcd.com/download/attachments/80972787/Hello%20Jane.png?version=1&amp;modificationDate=1519835972567&amp;api=v2">
            <a:extLst>
              <a:ext uri="{FF2B5EF4-FFF2-40B4-BE49-F238E27FC236}">
                <a16:creationId xmlns:a16="http://schemas.microsoft.com/office/drawing/2014/main" id="{F296B413-C99E-4D82-84B7-63FE57709B67}"/>
              </a:ext>
            </a:extLst>
          </p:cNvPr>
          <p:cNvSpPr>
            <a:spLocks noChangeAspect="1" noChangeArrowheads="1"/>
          </p:cNvSpPr>
          <p:nvPr/>
        </p:nvSpPr>
        <p:spPr bwMode="auto">
          <a:xfrm>
            <a:off x="5417127"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6752EA50-E559-422E-89A9-9484C8E553BD" descr="image1.PNG">
            <a:extLst>
              <a:ext uri="{FF2B5EF4-FFF2-40B4-BE49-F238E27FC236}">
                <a16:creationId xmlns:a16="http://schemas.microsoft.com/office/drawing/2014/main" id="{05EFA021-9FC9-41B8-AB65-9306B61CBE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07286" y="987829"/>
            <a:ext cx="2686638" cy="503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13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1</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2"/>
          <p:cNvSpPr txBox="1">
            <a:spLocks noGrp="1"/>
          </p:cNvSpPr>
          <p:nvPr>
            <p:ph type="ctrTitle" idx="4294967295"/>
          </p:nvPr>
        </p:nvSpPr>
        <p:spPr>
          <a:xfrm>
            <a:off x="942022" y="151481"/>
            <a:ext cx="8396288" cy="654050"/>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Advertisement Creation Summary</a:t>
            </a:r>
          </a:p>
        </p:txBody>
      </p:sp>
      <p:sp>
        <p:nvSpPr>
          <p:cNvPr id="5" name="object 3"/>
          <p:cNvSpPr txBox="1"/>
          <p:nvPr/>
        </p:nvSpPr>
        <p:spPr>
          <a:xfrm>
            <a:off x="1289754" y="1153302"/>
            <a:ext cx="10404170" cy="4985980"/>
          </a:xfrm>
          <a:prstGeom prst="rect">
            <a:avLst/>
          </a:prstGeom>
        </p:spPr>
        <p:txBody>
          <a:bodyPr vert="horz" lIns="91440" tIns="45720" rIns="91440" bIns="45720" rtlCol="0">
            <a:normAutofit/>
          </a:bodyPr>
          <a:lstStyle>
            <a:lvl1pPr indent="0">
              <a:lnSpc>
                <a:spcPct val="150000"/>
              </a:lnSpc>
              <a:spcBef>
                <a:spcPts val="1200"/>
              </a:spcBef>
              <a:buClr>
                <a:schemeClr val="accent3"/>
              </a:buClr>
              <a:buSzPct val="120000"/>
              <a:buFont typeface="Arial"/>
              <a:buNone/>
              <a:defRPr sz="2200">
                <a:cs typeface="Arial"/>
              </a:defRPr>
            </a:lvl1pPr>
            <a:lvl2pPr marL="641033" lvl="1" indent="-231458">
              <a:lnSpc>
                <a:spcPct val="150000"/>
              </a:lnSpc>
              <a:spcBef>
                <a:spcPts val="600"/>
              </a:spcBef>
              <a:buFont typeface="Arial"/>
              <a:buChar char="–"/>
              <a:tabLst>
                <a:tab pos="240506" algn="l"/>
                <a:tab pos="240983" algn="l"/>
              </a:tabLst>
              <a:defRPr sz="2000" spc="-4">
                <a:cs typeface="Arial"/>
              </a:defRP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dirty="0"/>
              <a:t>Please ignore the following fields on Advertisement creation as these are not applicable for GMAL </a:t>
            </a:r>
            <a:endParaRPr lang="en-US" dirty="0"/>
          </a:p>
          <a:p>
            <a:pPr marL="342900" indent="-342900">
              <a:buFont typeface="Arial" panose="020B0604020202020204" pitchFamily="34" charset="0"/>
              <a:buChar char="•"/>
            </a:pPr>
            <a:r>
              <a:rPr dirty="0"/>
              <a:t>Event Start time</a:t>
            </a:r>
          </a:p>
          <a:p>
            <a:pPr marL="342900" indent="-342900">
              <a:buFont typeface="Arial" panose="020B0604020202020204" pitchFamily="34" charset="0"/>
              <a:buChar char="•"/>
            </a:pPr>
            <a:r>
              <a:rPr dirty="0"/>
              <a:t>Extended Data</a:t>
            </a:r>
          </a:p>
          <a:p>
            <a:pPr marL="342900" indent="-342900">
              <a:buFont typeface="Arial" panose="020B0604020202020204" pitchFamily="34" charset="0"/>
              <a:buChar char="•"/>
            </a:pPr>
            <a:r>
              <a:rPr dirty="0"/>
              <a:t>Content Tags</a:t>
            </a:r>
          </a:p>
          <a:p>
            <a:pPr marL="342900" indent="-342900">
              <a:buFont typeface="Arial" panose="020B0604020202020204" pitchFamily="34" charset="0"/>
              <a:buChar char="•"/>
            </a:pPr>
            <a:r>
              <a:rPr dirty="0"/>
              <a:t>Assets</a:t>
            </a:r>
          </a:p>
          <a:p>
            <a:pPr marL="342900" indent="-342900">
              <a:buFont typeface="Arial" panose="020B0604020202020204" pitchFamily="34" charset="0"/>
              <a:buChar char="•"/>
            </a:pPr>
            <a:r>
              <a:rPr dirty="0"/>
              <a:t>Channel</a:t>
            </a:r>
          </a:p>
        </p:txBody>
      </p:sp>
      <p:sp>
        <p:nvSpPr>
          <p:cNvPr id="6" name="object 4"/>
          <p:cNvSpPr txBox="1"/>
          <p:nvPr/>
        </p:nvSpPr>
        <p:spPr>
          <a:xfrm>
            <a:off x="1458278" y="3821783"/>
            <a:ext cx="86201" cy="230832"/>
          </a:xfrm>
          <a:prstGeom prst="rect">
            <a:avLst/>
          </a:prstGeom>
        </p:spPr>
        <p:txBody>
          <a:bodyPr vert="horz" wrap="square" lIns="0" tIns="0" rIns="0" bIns="0" rtlCol="0">
            <a:spAutoFit/>
          </a:bodyPr>
          <a:lstStyle/>
          <a:p>
            <a:pPr marL="9525"/>
            <a:r>
              <a:rPr sz="1500" dirty="0">
                <a:solidFill>
                  <a:srgbClr val="FFFFFF"/>
                </a:solidFill>
                <a:latin typeface="Arial"/>
                <a:cs typeface="Arial"/>
              </a:rPr>
              <a:t>•</a:t>
            </a:r>
            <a:endParaRPr sz="1500">
              <a:latin typeface="Arial"/>
              <a:cs typeface="Arial"/>
            </a:endParaRPr>
          </a:p>
        </p:txBody>
      </p:sp>
      <p:sp>
        <p:nvSpPr>
          <p:cNvPr id="7" name="object 7"/>
          <p:cNvSpPr txBox="1"/>
          <p:nvPr/>
        </p:nvSpPr>
        <p:spPr>
          <a:xfrm>
            <a:off x="1801177" y="4844096"/>
            <a:ext cx="82867" cy="410369"/>
          </a:xfrm>
          <a:prstGeom prst="rect">
            <a:avLst/>
          </a:prstGeom>
        </p:spPr>
        <p:txBody>
          <a:bodyPr vert="horz" wrap="square" lIns="0" tIns="0" rIns="0" bIns="0" rtlCol="0">
            <a:spAutoFit/>
          </a:bodyPr>
          <a:lstStyle/>
          <a:p>
            <a:pPr marL="9525">
              <a:lnSpc>
                <a:spcPts val="1616"/>
              </a:lnSpc>
            </a:pPr>
            <a:r>
              <a:rPr sz="1425" dirty="0">
                <a:solidFill>
                  <a:srgbClr val="FFFFFF"/>
                </a:solidFill>
                <a:latin typeface="Arial"/>
                <a:cs typeface="Arial"/>
              </a:rPr>
              <a:t>•</a:t>
            </a:r>
            <a:endParaRPr sz="1425">
              <a:latin typeface="Arial"/>
              <a:cs typeface="Arial"/>
            </a:endParaRPr>
          </a:p>
          <a:p>
            <a:pPr marL="9525">
              <a:lnSpc>
                <a:spcPts val="1616"/>
              </a:lnSpc>
            </a:pPr>
            <a:r>
              <a:rPr sz="1425" dirty="0">
                <a:solidFill>
                  <a:srgbClr val="FFFFFF"/>
                </a:solidFill>
                <a:latin typeface="Arial"/>
                <a:cs typeface="Arial"/>
              </a:rPr>
              <a:t>•</a:t>
            </a:r>
            <a:endParaRPr sz="1425">
              <a:latin typeface="Arial"/>
              <a:cs typeface="Arial"/>
            </a:endParaRPr>
          </a:p>
        </p:txBody>
      </p:sp>
    </p:spTree>
    <p:extLst>
      <p:ext uri="{BB962C8B-B14F-4D97-AF65-F5344CB8AC3E}">
        <p14:creationId xmlns:p14="http://schemas.microsoft.com/office/powerpoint/2010/main" val="349747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370721" y="2273895"/>
            <a:ext cx="7450557" cy="1938992"/>
          </a:xfrm>
          <a:prstGeom prst="rect">
            <a:avLst/>
          </a:prstGeom>
          <a:noFill/>
        </p:spPr>
        <p:txBody>
          <a:bodyPr wrap="square" rtlCol="0">
            <a:spAutoFit/>
          </a:bodyPr>
          <a:lstStyle/>
          <a:p>
            <a:pPr algn="ctr"/>
            <a:r>
              <a:rPr lang="en-US" sz="6000" b="1" dirty="0">
                <a:solidFill>
                  <a:schemeClr val="accent2">
                    <a:lumMod val="75000"/>
                  </a:schemeClr>
                </a:solidFill>
                <a:latin typeface="Open Sans"/>
                <a:cs typeface="Arial Black"/>
              </a:rPr>
              <a:t>Push Notification Management</a:t>
            </a:r>
            <a:endParaRPr lang="en-US" sz="6000" b="1" dirty="0">
              <a:latin typeface="Open Sans"/>
            </a:endParaRPr>
          </a:p>
        </p:txBody>
      </p:sp>
    </p:spTree>
    <p:extLst>
      <p:ext uri="{BB962C8B-B14F-4D97-AF65-F5344CB8AC3E}">
        <p14:creationId xmlns:p14="http://schemas.microsoft.com/office/powerpoint/2010/main" val="172344865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ctrTitle" idx="4294967295"/>
          </p:nvPr>
        </p:nvSpPr>
        <p:spPr>
          <a:xfrm>
            <a:off x="1016000" y="6349"/>
            <a:ext cx="8404225" cy="654050"/>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Push Notification Capabilities</a:t>
            </a:r>
          </a:p>
        </p:txBody>
      </p:sp>
      <p:sp>
        <p:nvSpPr>
          <p:cNvPr id="9" name="Content Placeholder 4"/>
          <p:cNvSpPr txBox="1">
            <a:spLocks/>
          </p:cNvSpPr>
          <p:nvPr/>
        </p:nvSpPr>
        <p:spPr>
          <a:xfrm>
            <a:off x="1421627" y="1603785"/>
            <a:ext cx="6742546"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marR="5080" indent="-342900" algn="just" fontAlgn="auto">
              <a:lnSpc>
                <a:spcPct val="150000"/>
              </a:lnSpc>
              <a:spcBef>
                <a:spcPts val="15"/>
              </a:spcBef>
              <a:spcAft>
                <a:spcPts val="0"/>
              </a:spcAft>
              <a:tabLst>
                <a:tab pos="320675" algn="l"/>
                <a:tab pos="321310" algn="l"/>
              </a:tabLst>
            </a:pPr>
            <a:r>
              <a:rPr lang="en-US" sz="1800" spc="-5" dirty="0">
                <a:cs typeface="Arial"/>
              </a:rPr>
              <a:t>Content managers can personalize, target and link  content types </a:t>
            </a:r>
            <a:r>
              <a:rPr lang="en-US" sz="1800" dirty="0">
                <a:cs typeface="Arial"/>
              </a:rPr>
              <a:t>to a</a:t>
            </a:r>
            <a:r>
              <a:rPr lang="en-US" sz="1800" spc="-35" dirty="0">
                <a:cs typeface="Arial"/>
              </a:rPr>
              <a:t> </a:t>
            </a:r>
            <a:r>
              <a:rPr lang="en-US" sz="1800" spc="-5" dirty="0">
                <a:cs typeface="Arial"/>
              </a:rPr>
              <a:t>notification </a:t>
            </a:r>
          </a:p>
          <a:p>
            <a:pPr marL="355600" marR="5080" indent="-342900" algn="just" fontAlgn="auto">
              <a:lnSpc>
                <a:spcPct val="150000"/>
              </a:lnSpc>
              <a:spcBef>
                <a:spcPts val="15"/>
              </a:spcBef>
              <a:spcAft>
                <a:spcPts val="0"/>
              </a:spcAft>
              <a:tabLst>
                <a:tab pos="320675" algn="l"/>
                <a:tab pos="321310" algn="l"/>
              </a:tabLst>
            </a:pPr>
            <a:endParaRPr lang="en-US" sz="1800" dirty="0">
              <a:cs typeface="Arial"/>
            </a:endParaRPr>
          </a:p>
          <a:p>
            <a:pPr marL="355600" marR="309245" indent="-342900" algn="just" fontAlgn="auto">
              <a:lnSpc>
                <a:spcPct val="150000"/>
              </a:lnSpc>
              <a:spcBef>
                <a:spcPts val="25"/>
              </a:spcBef>
              <a:spcAft>
                <a:spcPts val="0"/>
              </a:spcAft>
              <a:tabLst>
                <a:tab pos="320675" algn="l"/>
                <a:tab pos="321310" algn="l"/>
              </a:tabLst>
            </a:pPr>
            <a:r>
              <a:rPr lang="en-US" sz="1800" spc="-5" dirty="0">
                <a:cs typeface="Arial"/>
              </a:rPr>
              <a:t>Content managers can control the </a:t>
            </a:r>
            <a:r>
              <a:rPr lang="en-US" sz="1800" dirty="0">
                <a:cs typeface="Arial"/>
              </a:rPr>
              <a:t>limits </a:t>
            </a:r>
            <a:r>
              <a:rPr lang="en-US" sz="1800" spc="-5" dirty="0">
                <a:cs typeface="Arial"/>
              </a:rPr>
              <a:t>around  how many notifications should be sent </a:t>
            </a:r>
            <a:r>
              <a:rPr lang="en-US" sz="1800" dirty="0">
                <a:cs typeface="Arial"/>
              </a:rPr>
              <a:t>to</a:t>
            </a:r>
            <a:r>
              <a:rPr lang="en-US" sz="1800" spc="-5" dirty="0">
                <a:cs typeface="Arial"/>
              </a:rPr>
              <a:t> </a:t>
            </a:r>
            <a:r>
              <a:rPr lang="en-US" sz="1800" dirty="0">
                <a:cs typeface="Arial"/>
              </a:rPr>
              <a:t>a </a:t>
            </a:r>
            <a:r>
              <a:rPr lang="en-US" sz="1800" spc="-5" dirty="0">
                <a:cs typeface="Arial"/>
              </a:rPr>
              <a:t>customer over </a:t>
            </a:r>
            <a:r>
              <a:rPr lang="en-US" sz="1800" dirty="0">
                <a:cs typeface="Arial"/>
              </a:rPr>
              <a:t>a </a:t>
            </a:r>
            <a:r>
              <a:rPr lang="en-US" sz="1800" spc="-5" dirty="0">
                <a:cs typeface="Arial"/>
              </a:rPr>
              <a:t>period of</a:t>
            </a:r>
            <a:r>
              <a:rPr lang="en-US" sz="1800" spc="-45" dirty="0">
                <a:cs typeface="Arial"/>
              </a:rPr>
              <a:t> </a:t>
            </a:r>
            <a:r>
              <a:rPr lang="en-US" sz="1800" dirty="0">
                <a:cs typeface="Arial"/>
              </a:rPr>
              <a:t>time</a:t>
            </a:r>
          </a:p>
          <a:p>
            <a:pPr marL="355600" marR="309245" indent="-342900" algn="just" fontAlgn="auto">
              <a:lnSpc>
                <a:spcPct val="150000"/>
              </a:lnSpc>
              <a:spcBef>
                <a:spcPts val="25"/>
              </a:spcBef>
              <a:spcAft>
                <a:spcPts val="0"/>
              </a:spcAft>
              <a:tabLst>
                <a:tab pos="320675" algn="l"/>
                <a:tab pos="321310" algn="l"/>
              </a:tabLst>
            </a:pPr>
            <a:endParaRPr lang="en-US" sz="1800" dirty="0">
              <a:cs typeface="Arial"/>
            </a:endParaRPr>
          </a:p>
          <a:p>
            <a:pPr marL="355600" marR="17145" indent="-342900" algn="just" fontAlgn="auto">
              <a:lnSpc>
                <a:spcPct val="150000"/>
              </a:lnSpc>
              <a:spcBef>
                <a:spcPts val="5"/>
              </a:spcBef>
              <a:spcAft>
                <a:spcPts val="0"/>
              </a:spcAft>
              <a:tabLst>
                <a:tab pos="320675" algn="l"/>
                <a:tab pos="321310" algn="l"/>
              </a:tabLst>
            </a:pPr>
            <a:r>
              <a:rPr lang="en-US" sz="1800" spc="-5" dirty="0">
                <a:cs typeface="Arial"/>
              </a:rPr>
              <a:t>Content managers can also specify start date, end  date, </a:t>
            </a:r>
            <a:r>
              <a:rPr lang="en-US" sz="1800" dirty="0">
                <a:cs typeface="Arial"/>
              </a:rPr>
              <a:t>time </a:t>
            </a:r>
            <a:r>
              <a:rPr lang="en-US" sz="1800" spc="-5" dirty="0">
                <a:cs typeface="Arial"/>
              </a:rPr>
              <a:t>of </a:t>
            </a:r>
            <a:r>
              <a:rPr lang="en-US" sz="1800" spc="-40" dirty="0">
                <a:cs typeface="Arial"/>
              </a:rPr>
              <a:t>day, </a:t>
            </a:r>
            <a:r>
              <a:rPr lang="en-US" sz="1800" spc="-5" dirty="0">
                <a:cs typeface="Arial"/>
              </a:rPr>
              <a:t>and days of the week for the  push</a:t>
            </a:r>
            <a:r>
              <a:rPr lang="en-US" sz="1800" spc="-55" dirty="0">
                <a:cs typeface="Arial"/>
              </a:rPr>
              <a:t> </a:t>
            </a:r>
            <a:r>
              <a:rPr lang="en-US" sz="1800" spc="-5" dirty="0">
                <a:cs typeface="Arial"/>
              </a:rPr>
              <a:t>notifications</a:t>
            </a:r>
            <a:endParaRPr lang="en-US" sz="1800" dirty="0">
              <a:cs typeface="Arial"/>
            </a:endParaRPr>
          </a:p>
          <a:p>
            <a:pPr marL="171450" indent="-171450" algn="just" fontAlgn="auto">
              <a:lnSpc>
                <a:spcPct val="150000"/>
              </a:lnSpc>
              <a:spcAft>
                <a:spcPts val="0"/>
              </a:spcAft>
            </a:pPr>
            <a:endParaRPr lang="en-US" sz="1800" dirty="0"/>
          </a:p>
        </p:txBody>
      </p:sp>
      <p:grpSp>
        <p:nvGrpSpPr>
          <p:cNvPr id="10" name="Group 9"/>
          <p:cNvGrpSpPr/>
          <p:nvPr/>
        </p:nvGrpSpPr>
        <p:grpSpPr>
          <a:xfrm>
            <a:off x="8386458" y="1356179"/>
            <a:ext cx="3342497" cy="3695611"/>
            <a:chOff x="7542415" y="1473200"/>
            <a:chExt cx="3779050" cy="3695611"/>
          </a:xfrm>
        </p:grpSpPr>
        <p:sp>
          <p:nvSpPr>
            <p:cNvPr id="11" name="object 5"/>
            <p:cNvSpPr/>
            <p:nvPr/>
          </p:nvSpPr>
          <p:spPr>
            <a:xfrm>
              <a:off x="7542415" y="1473200"/>
              <a:ext cx="3779050" cy="3695611"/>
            </a:xfrm>
            <a:prstGeom prst="rect">
              <a:avLst/>
            </a:prstGeom>
            <a:blipFill>
              <a:blip r:embed="rId2" cstate="print"/>
              <a:stretch>
                <a:fillRect/>
              </a:stretch>
            </a:blipFill>
          </p:spPr>
          <p:txBody>
            <a:bodyPr wrap="square" lIns="0" tIns="0" rIns="0" bIns="0" rtlCol="0"/>
            <a:lstStyle/>
            <a:p>
              <a:endParaRPr/>
            </a:p>
          </p:txBody>
        </p:sp>
        <p:sp>
          <p:nvSpPr>
            <p:cNvPr id="12" name="object 6"/>
            <p:cNvSpPr/>
            <p:nvPr/>
          </p:nvSpPr>
          <p:spPr>
            <a:xfrm>
              <a:off x="7950200" y="2292972"/>
              <a:ext cx="2933700" cy="2875838"/>
            </a:xfrm>
            <a:prstGeom prst="rect">
              <a:avLst/>
            </a:prstGeom>
            <a:blipFill>
              <a:blip r:embed="rId3" cstate="print"/>
              <a:stretch>
                <a:fillRect/>
              </a:stretch>
            </a:blipFill>
          </p:spPr>
          <p:txBody>
            <a:bodyPr wrap="square" lIns="0" tIns="0" rIns="0" bIns="0" rtlCol="0"/>
            <a:lstStyle/>
            <a:p>
              <a:endParaRPr/>
            </a:p>
          </p:txBody>
        </p:sp>
      </p:grpSp>
    </p:spTree>
    <p:extLst>
      <p:ext uri="{BB962C8B-B14F-4D97-AF65-F5344CB8AC3E}">
        <p14:creationId xmlns:p14="http://schemas.microsoft.com/office/powerpoint/2010/main" val="241845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4</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4"/>
          <p:cNvSpPr txBox="1">
            <a:spLocks/>
          </p:cNvSpPr>
          <p:nvPr/>
        </p:nvSpPr>
        <p:spPr>
          <a:xfrm>
            <a:off x="1060054" y="1849515"/>
            <a:ext cx="6784746"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marR="5080" indent="-342900" algn="just" fontAlgn="auto">
              <a:lnSpc>
                <a:spcPct val="150000"/>
              </a:lnSpc>
              <a:spcBef>
                <a:spcPts val="15"/>
              </a:spcBef>
              <a:spcAft>
                <a:spcPts val="0"/>
              </a:spcAft>
              <a:tabLst>
                <a:tab pos="320675" algn="l"/>
                <a:tab pos="321310" algn="l"/>
              </a:tabLst>
            </a:pPr>
            <a:r>
              <a:rPr lang="en-IN" sz="1800" spc="-5" dirty="0">
                <a:cs typeface="Arial"/>
              </a:rPr>
              <a:t>Push Messages can be linked to an offer in the app</a:t>
            </a:r>
          </a:p>
          <a:p>
            <a:pPr marL="355600" marR="5080" indent="-342900" algn="just" fontAlgn="auto">
              <a:lnSpc>
                <a:spcPct val="150000"/>
              </a:lnSpc>
              <a:spcBef>
                <a:spcPts val="15"/>
              </a:spcBef>
              <a:spcAft>
                <a:spcPts val="0"/>
              </a:spcAft>
              <a:tabLst>
                <a:tab pos="320675" algn="l"/>
                <a:tab pos="321310" algn="l"/>
              </a:tabLst>
            </a:pPr>
            <a:r>
              <a:rPr lang="en-IN" sz="1800" spc="-5" dirty="0">
                <a:cs typeface="Arial"/>
              </a:rPr>
              <a:t>All push messages will appear in the notification centre  for both iOS and Android</a:t>
            </a:r>
          </a:p>
          <a:p>
            <a:pPr marL="355600" marR="5080" indent="-342900" algn="just" fontAlgn="auto">
              <a:lnSpc>
                <a:spcPct val="150000"/>
              </a:lnSpc>
              <a:spcBef>
                <a:spcPts val="15"/>
              </a:spcBef>
              <a:spcAft>
                <a:spcPts val="0"/>
              </a:spcAft>
              <a:tabLst>
                <a:tab pos="320675" algn="l"/>
                <a:tab pos="321310" algn="l"/>
              </a:tabLst>
            </a:pPr>
            <a:r>
              <a:rPr lang="en-IN" sz="1800" spc="-5" dirty="0">
                <a:cs typeface="Arial"/>
              </a:rPr>
              <a:t>The platform will automatically apply the right market  tag at the time of creation</a:t>
            </a:r>
          </a:p>
          <a:p>
            <a:pPr marL="355600" marR="5080" indent="-342900" algn="just" fontAlgn="auto">
              <a:lnSpc>
                <a:spcPct val="150000"/>
              </a:lnSpc>
              <a:spcBef>
                <a:spcPts val="15"/>
              </a:spcBef>
              <a:spcAft>
                <a:spcPts val="0"/>
              </a:spcAft>
              <a:tabLst>
                <a:tab pos="320675" algn="l"/>
                <a:tab pos="321310" algn="l"/>
              </a:tabLst>
            </a:pPr>
            <a:r>
              <a:rPr lang="en-IN" sz="1800" dirty="0"/>
              <a:t>Location services to be enabled and store data to activate for </a:t>
            </a:r>
            <a:r>
              <a:rPr lang="en-IN" sz="1800" dirty="0" err="1"/>
              <a:t>Geofence</a:t>
            </a:r>
            <a:r>
              <a:rPr lang="en-IN" sz="1800" dirty="0"/>
              <a:t> and  Beacon notifications</a:t>
            </a:r>
          </a:p>
        </p:txBody>
      </p:sp>
      <p:grpSp>
        <p:nvGrpSpPr>
          <p:cNvPr id="5" name="Group 4"/>
          <p:cNvGrpSpPr/>
          <p:nvPr/>
        </p:nvGrpSpPr>
        <p:grpSpPr>
          <a:xfrm>
            <a:off x="7844800" y="1491052"/>
            <a:ext cx="3849124" cy="3917327"/>
            <a:chOff x="7298956" y="1417637"/>
            <a:chExt cx="4550143" cy="3917327"/>
          </a:xfrm>
        </p:grpSpPr>
        <p:sp>
          <p:nvSpPr>
            <p:cNvPr id="6" name="object 5"/>
            <p:cNvSpPr/>
            <p:nvPr/>
          </p:nvSpPr>
          <p:spPr>
            <a:xfrm>
              <a:off x="7298956" y="1417637"/>
              <a:ext cx="4550143" cy="3917327"/>
            </a:xfrm>
            <a:prstGeom prst="rect">
              <a:avLst/>
            </a:prstGeom>
            <a:blipFill>
              <a:blip r:embed="rId2" cstate="print"/>
              <a:stretch>
                <a:fillRect/>
              </a:stretch>
            </a:blipFill>
          </p:spPr>
          <p:txBody>
            <a:bodyPr wrap="square" lIns="0" tIns="0" rIns="0" bIns="0" rtlCol="0"/>
            <a:lstStyle/>
            <a:p>
              <a:endParaRPr/>
            </a:p>
          </p:txBody>
        </p:sp>
        <p:sp>
          <p:nvSpPr>
            <p:cNvPr id="7" name="object 6"/>
            <p:cNvSpPr/>
            <p:nvPr/>
          </p:nvSpPr>
          <p:spPr>
            <a:xfrm>
              <a:off x="7810500" y="2382227"/>
              <a:ext cx="3493452" cy="2748749"/>
            </a:xfrm>
            <a:prstGeom prst="rect">
              <a:avLst/>
            </a:prstGeom>
            <a:blipFill>
              <a:blip r:embed="rId3" cstate="print"/>
              <a:stretch>
                <a:fillRect/>
              </a:stretch>
            </a:blipFill>
          </p:spPr>
          <p:txBody>
            <a:bodyPr wrap="square" lIns="0" tIns="0" rIns="0" bIns="0" rtlCol="0"/>
            <a:lstStyle/>
            <a:p>
              <a:endParaRPr/>
            </a:p>
          </p:txBody>
        </p:sp>
      </p:grpSp>
      <p:sp>
        <p:nvSpPr>
          <p:cNvPr id="8" name="Title 3">
            <a:extLst>
              <a:ext uri="{FF2B5EF4-FFF2-40B4-BE49-F238E27FC236}">
                <a16:creationId xmlns:a16="http://schemas.microsoft.com/office/drawing/2014/main" id="{C06846BB-800B-46C0-90AD-5D21310BEE3A}"/>
              </a:ext>
            </a:extLst>
          </p:cNvPr>
          <p:cNvSpPr txBox="1">
            <a:spLocks/>
          </p:cNvSpPr>
          <p:nvPr/>
        </p:nvSpPr>
        <p:spPr>
          <a:xfrm>
            <a:off x="1038010" y="57014"/>
            <a:ext cx="7418895"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Push Notification Capabilities</a:t>
            </a:r>
          </a:p>
        </p:txBody>
      </p:sp>
    </p:spTree>
    <p:extLst>
      <p:ext uri="{BB962C8B-B14F-4D97-AF65-F5344CB8AC3E}">
        <p14:creationId xmlns:p14="http://schemas.microsoft.com/office/powerpoint/2010/main" val="298232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5</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4"/>
          <p:cNvSpPr txBox="1">
            <a:spLocks/>
          </p:cNvSpPr>
          <p:nvPr/>
        </p:nvSpPr>
        <p:spPr>
          <a:xfrm>
            <a:off x="1060054" y="1692496"/>
            <a:ext cx="6784746"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marR="5080" indent="-342900" algn="just" fontAlgn="auto">
              <a:lnSpc>
                <a:spcPct val="150000"/>
              </a:lnSpc>
              <a:spcBef>
                <a:spcPts val="15"/>
              </a:spcBef>
              <a:spcAft>
                <a:spcPts val="0"/>
              </a:spcAft>
              <a:tabLst>
                <a:tab pos="320675" algn="l"/>
                <a:tab pos="321310" algn="l"/>
              </a:tabLst>
            </a:pPr>
            <a:r>
              <a:rPr lang="en-IN" sz="1800" spc="-5" dirty="0">
                <a:cs typeface="Arial"/>
              </a:rPr>
              <a:t>Push Messages can be linked to an offer in the app</a:t>
            </a:r>
          </a:p>
          <a:p>
            <a:pPr marL="355600" marR="5080" indent="-342900" algn="just" fontAlgn="auto">
              <a:lnSpc>
                <a:spcPct val="150000"/>
              </a:lnSpc>
              <a:spcBef>
                <a:spcPts val="15"/>
              </a:spcBef>
              <a:spcAft>
                <a:spcPts val="0"/>
              </a:spcAft>
              <a:tabLst>
                <a:tab pos="320675" algn="l"/>
                <a:tab pos="321310" algn="l"/>
              </a:tabLst>
            </a:pPr>
            <a:r>
              <a:rPr lang="en-IN" sz="1800" spc="-5" dirty="0">
                <a:cs typeface="Arial"/>
              </a:rPr>
              <a:t>All push messages will appear in the notification centre  for both iOS and Android</a:t>
            </a:r>
          </a:p>
          <a:p>
            <a:pPr marL="355600" marR="5080" indent="-342900" algn="just" fontAlgn="auto">
              <a:lnSpc>
                <a:spcPct val="150000"/>
              </a:lnSpc>
              <a:spcBef>
                <a:spcPts val="15"/>
              </a:spcBef>
              <a:spcAft>
                <a:spcPts val="0"/>
              </a:spcAft>
              <a:tabLst>
                <a:tab pos="320675" algn="l"/>
                <a:tab pos="321310" algn="l"/>
              </a:tabLst>
            </a:pPr>
            <a:r>
              <a:rPr lang="en-IN" sz="1800" spc="-5" dirty="0">
                <a:cs typeface="Arial"/>
              </a:rPr>
              <a:t>The platform will automatically apply the right market  tag at the time of creation</a:t>
            </a:r>
          </a:p>
          <a:p>
            <a:pPr marL="355600" marR="5080" indent="-342900" algn="just" fontAlgn="auto">
              <a:lnSpc>
                <a:spcPct val="150000"/>
              </a:lnSpc>
              <a:spcBef>
                <a:spcPts val="15"/>
              </a:spcBef>
              <a:spcAft>
                <a:spcPts val="0"/>
              </a:spcAft>
              <a:tabLst>
                <a:tab pos="320675" algn="l"/>
                <a:tab pos="321310" algn="l"/>
              </a:tabLst>
            </a:pPr>
            <a:r>
              <a:rPr lang="en-IN" sz="1800" dirty="0"/>
              <a:t>Location services to be enabled and store data to activate for </a:t>
            </a:r>
            <a:r>
              <a:rPr lang="en-IN" sz="1800" dirty="0" err="1"/>
              <a:t>Geofence</a:t>
            </a:r>
            <a:r>
              <a:rPr lang="en-IN" sz="1800" dirty="0"/>
              <a:t> and  Beacon notifications</a:t>
            </a:r>
          </a:p>
        </p:txBody>
      </p:sp>
      <p:grpSp>
        <p:nvGrpSpPr>
          <p:cNvPr id="5" name="Group 4"/>
          <p:cNvGrpSpPr/>
          <p:nvPr/>
        </p:nvGrpSpPr>
        <p:grpSpPr>
          <a:xfrm>
            <a:off x="7844800" y="1334033"/>
            <a:ext cx="3849124" cy="3917327"/>
            <a:chOff x="7298956" y="1417637"/>
            <a:chExt cx="4550143" cy="3917327"/>
          </a:xfrm>
        </p:grpSpPr>
        <p:sp>
          <p:nvSpPr>
            <p:cNvPr id="6" name="object 5"/>
            <p:cNvSpPr/>
            <p:nvPr/>
          </p:nvSpPr>
          <p:spPr>
            <a:xfrm>
              <a:off x="7298956" y="1417637"/>
              <a:ext cx="4550143" cy="3917327"/>
            </a:xfrm>
            <a:prstGeom prst="rect">
              <a:avLst/>
            </a:prstGeom>
            <a:blipFill>
              <a:blip r:embed="rId2" cstate="print"/>
              <a:stretch>
                <a:fillRect/>
              </a:stretch>
            </a:blipFill>
          </p:spPr>
          <p:txBody>
            <a:bodyPr wrap="square" lIns="0" tIns="0" rIns="0" bIns="0" rtlCol="0"/>
            <a:lstStyle/>
            <a:p>
              <a:endParaRPr/>
            </a:p>
          </p:txBody>
        </p:sp>
        <p:sp>
          <p:nvSpPr>
            <p:cNvPr id="7" name="object 6"/>
            <p:cNvSpPr/>
            <p:nvPr/>
          </p:nvSpPr>
          <p:spPr>
            <a:xfrm>
              <a:off x="7810500" y="2382227"/>
              <a:ext cx="3493452" cy="2748749"/>
            </a:xfrm>
            <a:prstGeom prst="rect">
              <a:avLst/>
            </a:prstGeom>
            <a:blipFill>
              <a:blip r:embed="rId3" cstate="print"/>
              <a:stretch>
                <a:fillRect/>
              </a:stretch>
            </a:blipFill>
          </p:spPr>
          <p:txBody>
            <a:bodyPr wrap="square" lIns="0" tIns="0" rIns="0" bIns="0" rtlCol="0"/>
            <a:lstStyle/>
            <a:p>
              <a:endParaRPr/>
            </a:p>
          </p:txBody>
        </p:sp>
      </p:grpSp>
      <p:sp>
        <p:nvSpPr>
          <p:cNvPr id="8" name="Title 3">
            <a:extLst>
              <a:ext uri="{FF2B5EF4-FFF2-40B4-BE49-F238E27FC236}">
                <a16:creationId xmlns:a16="http://schemas.microsoft.com/office/drawing/2014/main" id="{C06846BB-800B-46C0-90AD-5D21310BEE3A}"/>
              </a:ext>
            </a:extLst>
          </p:cNvPr>
          <p:cNvSpPr txBox="1">
            <a:spLocks/>
          </p:cNvSpPr>
          <p:nvPr/>
        </p:nvSpPr>
        <p:spPr>
          <a:xfrm>
            <a:off x="1060054" y="0"/>
            <a:ext cx="7418895"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a:latin typeface="+mj-lt"/>
                <a:ea typeface="+mj-ea"/>
                <a:cs typeface="+mj-cs"/>
              </a:rPr>
              <a:t>Push Notification Capabilities</a:t>
            </a:r>
          </a:p>
        </p:txBody>
      </p:sp>
    </p:spTree>
    <p:extLst>
      <p:ext uri="{BB962C8B-B14F-4D97-AF65-F5344CB8AC3E}">
        <p14:creationId xmlns:p14="http://schemas.microsoft.com/office/powerpoint/2010/main" val="339132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6</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1"/>
          <p:cNvSpPr>
            <a:spLocks noGrp="1"/>
          </p:cNvSpPr>
          <p:nvPr>
            <p:ph type="ctrTitle" idx="4294967295"/>
          </p:nvPr>
        </p:nvSpPr>
        <p:spPr>
          <a:xfrm>
            <a:off x="1062182" y="0"/>
            <a:ext cx="8504238" cy="652463"/>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Push Messages</a:t>
            </a:r>
          </a:p>
        </p:txBody>
      </p:sp>
      <p:sp>
        <p:nvSpPr>
          <p:cNvPr id="5" name="Content Placeholder 2"/>
          <p:cNvSpPr txBox="1">
            <a:spLocks/>
          </p:cNvSpPr>
          <p:nvPr/>
        </p:nvSpPr>
        <p:spPr>
          <a:xfrm>
            <a:off x="1246910" y="725920"/>
            <a:ext cx="10058400" cy="3227243"/>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base">
              <a:lnSpc>
                <a:spcPct val="200000"/>
              </a:lnSpc>
              <a:spcAft>
                <a:spcPts val="0"/>
              </a:spcAft>
              <a:buFont typeface="Arial" panose="020B0604020202020204" pitchFamily="34" charset="0"/>
              <a:buNone/>
            </a:pPr>
            <a:r>
              <a:rPr lang="en-US" sz="1500" dirty="0" err="1"/>
              <a:t>Plexure</a:t>
            </a:r>
            <a:r>
              <a:rPr lang="en-US" sz="1500" dirty="0"/>
              <a:t> supports the following four types of push messaging:</a:t>
            </a:r>
          </a:p>
          <a:p>
            <a:pPr marL="285750" indent="-285750" algn="just" fontAlgn="base">
              <a:lnSpc>
                <a:spcPct val="200000"/>
              </a:lnSpc>
              <a:spcAft>
                <a:spcPts val="0"/>
              </a:spcAft>
            </a:pPr>
            <a:r>
              <a:rPr lang="en-US" sz="1500" dirty="0"/>
              <a:t>Broadcast: This is a push message sent to a selected audience at a set point in time</a:t>
            </a:r>
          </a:p>
          <a:p>
            <a:pPr marL="285750" indent="-285750" algn="just" fontAlgn="base">
              <a:lnSpc>
                <a:spcPct val="200000"/>
              </a:lnSpc>
              <a:spcAft>
                <a:spcPts val="0"/>
              </a:spcAft>
            </a:pPr>
            <a:r>
              <a:rPr lang="en-US" sz="1500" dirty="0"/>
              <a:t>Recurring: This is a recurring broadcast push message, most commonly used for sending out birthday push messages</a:t>
            </a:r>
          </a:p>
          <a:p>
            <a:pPr marL="285750" indent="-285750" algn="just" fontAlgn="base">
              <a:lnSpc>
                <a:spcPct val="200000"/>
              </a:lnSpc>
              <a:spcAft>
                <a:spcPts val="0"/>
              </a:spcAft>
            </a:pPr>
            <a:r>
              <a:rPr lang="en-US" sz="1500" dirty="0"/>
              <a:t>Geo-fence: This is a push message setup for a period of time and triggered by a consumer entering the geo-fence</a:t>
            </a:r>
          </a:p>
          <a:p>
            <a:pPr marL="285750" indent="-285750" algn="just" fontAlgn="base">
              <a:lnSpc>
                <a:spcPct val="200000"/>
              </a:lnSpc>
              <a:spcAft>
                <a:spcPts val="0"/>
              </a:spcAft>
            </a:pPr>
            <a:r>
              <a:rPr lang="en-US" sz="1500" dirty="0"/>
              <a:t>Beacon: This is a push message setup for a period of time and triggered when a consumer is in proximity to a Bluetooth beacon</a:t>
            </a:r>
          </a:p>
          <a:p>
            <a:pPr marL="285750" indent="-285750" algn="just" fontAlgn="auto">
              <a:lnSpc>
                <a:spcPct val="200000"/>
              </a:lnSpc>
              <a:spcAft>
                <a:spcPts val="0"/>
              </a:spcAft>
            </a:pPr>
            <a:r>
              <a:rPr lang="en-US" sz="1500" dirty="0"/>
              <a:t>Direct Push Message can be used to send a message to individual customers (who have the app installed and approved of Push Messages). Mainly used by </a:t>
            </a:r>
            <a:r>
              <a:rPr lang="en-US" sz="1500" dirty="0" err="1"/>
              <a:t>Plexure</a:t>
            </a:r>
            <a:r>
              <a:rPr lang="en-US" sz="1500" dirty="0"/>
              <a:t> system to send push message based on event.</a:t>
            </a:r>
          </a:p>
          <a:p>
            <a:pPr marL="285750" indent="-285750" algn="just" fontAlgn="base">
              <a:lnSpc>
                <a:spcPct val="200000"/>
              </a:lnSpc>
              <a:spcAft>
                <a:spcPts val="0"/>
              </a:spcAft>
            </a:pPr>
            <a:endParaRPr lang="en-US" sz="1800" dirty="0"/>
          </a:p>
          <a:p>
            <a:pPr algn="just" fontAlgn="auto">
              <a:lnSpc>
                <a:spcPct val="200000"/>
              </a:lnSpc>
              <a:spcAft>
                <a:spcPts val="0"/>
              </a:spcAft>
            </a:pPr>
            <a:endParaRPr lang="en-US" sz="1800" dirty="0"/>
          </a:p>
        </p:txBody>
      </p:sp>
    </p:spTree>
    <p:extLst>
      <p:ext uri="{BB962C8B-B14F-4D97-AF65-F5344CB8AC3E}">
        <p14:creationId xmlns:p14="http://schemas.microsoft.com/office/powerpoint/2010/main" val="382566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7</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3"/>
          <p:cNvSpPr txBox="1">
            <a:spLocks noGrp="1"/>
          </p:cNvSpPr>
          <p:nvPr>
            <p:ph type="ctrTitle" idx="4294967295"/>
          </p:nvPr>
        </p:nvSpPr>
        <p:spPr>
          <a:xfrm>
            <a:off x="988291" y="0"/>
            <a:ext cx="8912225" cy="654050"/>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Steps in Push Message Creation</a:t>
            </a:r>
          </a:p>
        </p:txBody>
      </p:sp>
      <p:sp>
        <p:nvSpPr>
          <p:cNvPr id="5" name="object 4"/>
          <p:cNvSpPr txBox="1"/>
          <p:nvPr/>
        </p:nvSpPr>
        <p:spPr>
          <a:xfrm>
            <a:off x="1369894" y="1139822"/>
            <a:ext cx="10324030" cy="5501843"/>
          </a:xfrm>
          <a:prstGeom prst="rect">
            <a:avLst/>
          </a:prstGeom>
        </p:spPr>
        <p:txBody>
          <a:bodyPr vert="horz" lIns="91440" tIns="45720" rIns="91440" bIns="45720" rtlCol="0">
            <a:noAutofit/>
          </a:bodyPr>
          <a:lstStyle>
            <a:lvl1pPr marL="321310" marR="5080" indent="-308610" algn="just">
              <a:lnSpc>
                <a:spcPct val="150000"/>
              </a:lnSpc>
              <a:spcBef>
                <a:spcPts val="15"/>
              </a:spcBef>
              <a:buClr>
                <a:schemeClr val="accent3"/>
              </a:buClr>
              <a:buSzPct val="120000"/>
              <a:buFont typeface="Arial"/>
              <a:buChar char="•"/>
              <a:tabLst>
                <a:tab pos="320675" algn="l"/>
                <a:tab pos="321310" algn="l"/>
              </a:tabLst>
              <a:defRPr sz="2400" spc="-5">
                <a:cs typeface="Arial"/>
              </a:defRPr>
            </a:lvl1pPr>
            <a:lvl2pPr marL="742950" indent="-285750">
              <a:lnSpc>
                <a:spcPct val="100000"/>
              </a:lnSpc>
              <a:spcBef>
                <a:spcPts val="600"/>
              </a:spcBef>
              <a:buFont typeface="Arial"/>
              <a:buChar char="–"/>
            </a:lvl2pPr>
            <a:lvl3pPr marL="1143000" indent="-228600">
              <a:lnSpc>
                <a:spcPct val="100000"/>
              </a:lnSpc>
              <a:spcBef>
                <a:spcPts val="300"/>
              </a:spcBef>
              <a:buFont typeface="Arial"/>
              <a:buChar char="•"/>
              <a:defRPr sz="1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469900" indent="-457200">
              <a:buFont typeface="+mj-lt"/>
              <a:buAutoNum type="arabicPeriod"/>
            </a:pPr>
            <a:r>
              <a:rPr sz="2000" dirty="0"/>
              <a:t>Select Broadcast Push Message from new message creation screen</a:t>
            </a:r>
          </a:p>
          <a:p>
            <a:pPr marL="469900" indent="-457200">
              <a:buFont typeface="+mj-lt"/>
              <a:buAutoNum type="arabicPeriod"/>
            </a:pPr>
            <a:r>
              <a:rPr sz="2000" dirty="0"/>
              <a:t>Select a friendly name for the Push message for reporting </a:t>
            </a:r>
            <a:endParaRPr lang="en-US" sz="2000" dirty="0"/>
          </a:p>
          <a:p>
            <a:pPr marL="469900" indent="-457200">
              <a:buFont typeface="+mj-lt"/>
              <a:buAutoNum type="arabicPeriod"/>
            </a:pPr>
            <a:r>
              <a:rPr sz="2000" dirty="0"/>
              <a:t>Select the campaign for the push message</a:t>
            </a:r>
          </a:p>
          <a:p>
            <a:pPr marL="469900" indent="-457200">
              <a:buFont typeface="+mj-lt"/>
              <a:buAutoNum type="arabicPeriod"/>
            </a:pPr>
            <a:r>
              <a:rPr sz="2000" dirty="0"/>
              <a:t>Enter the message copy and select the date and time for the push  message. The push message is always sent relative to consumer device  time zone</a:t>
            </a:r>
          </a:p>
          <a:p>
            <a:pPr marL="469900" indent="-457200">
              <a:buFont typeface="+mj-lt"/>
              <a:buAutoNum type="arabicPeriod"/>
            </a:pPr>
            <a:r>
              <a:rPr sz="2000" dirty="0"/>
              <a:t>If you want to deeplink an offer, please select offer from the dropdown list  on the platform</a:t>
            </a:r>
          </a:p>
          <a:p>
            <a:pPr marL="469900" indent="-457200">
              <a:buFont typeface="+mj-lt"/>
              <a:buAutoNum type="arabicPeriod"/>
            </a:pPr>
            <a:r>
              <a:rPr sz="2000" dirty="0"/>
              <a:t>Select Android ONLY or iOS only features if required</a:t>
            </a:r>
          </a:p>
          <a:p>
            <a:pPr marL="469900" indent="-457200">
              <a:buFont typeface="+mj-lt"/>
              <a:buAutoNum type="arabicPeriod"/>
            </a:pPr>
            <a:r>
              <a:rPr sz="2000" dirty="0"/>
              <a:t>Select tags for targeting the push message to a specific audience</a:t>
            </a:r>
          </a:p>
          <a:p>
            <a:pPr marL="469900" indent="-457200">
              <a:buFont typeface="+mj-lt"/>
              <a:buAutoNum type="arabicPeriod"/>
            </a:pPr>
            <a:r>
              <a:rPr sz="2000" dirty="0"/>
              <a:t>Start the Approval Flow for the message</a:t>
            </a:r>
          </a:p>
        </p:txBody>
      </p:sp>
    </p:spTree>
    <p:extLst>
      <p:ext uri="{BB962C8B-B14F-4D97-AF65-F5344CB8AC3E}">
        <p14:creationId xmlns:p14="http://schemas.microsoft.com/office/powerpoint/2010/main" val="152035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8</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object 12"/>
          <p:cNvSpPr/>
          <p:nvPr/>
        </p:nvSpPr>
        <p:spPr>
          <a:xfrm>
            <a:off x="1423482" y="2985504"/>
            <a:ext cx="4407064" cy="3527526"/>
          </a:xfrm>
          <a:prstGeom prst="rect">
            <a:avLst/>
          </a:prstGeom>
          <a:blipFill>
            <a:blip r:embed="rId2" cstate="print"/>
            <a:stretch>
              <a:fillRect/>
            </a:stretch>
          </a:blipFill>
        </p:spPr>
        <p:txBody>
          <a:bodyPr wrap="square" lIns="0" tIns="0" rIns="0" bIns="0" rtlCol="0"/>
          <a:lstStyle/>
          <a:p>
            <a:endParaRPr sz="1350"/>
          </a:p>
        </p:txBody>
      </p:sp>
      <p:sp>
        <p:nvSpPr>
          <p:cNvPr id="5" name="object 3"/>
          <p:cNvSpPr txBox="1">
            <a:spLocks noGrp="1"/>
          </p:cNvSpPr>
          <p:nvPr>
            <p:ph type="ctrTitle" idx="4294967295"/>
          </p:nvPr>
        </p:nvSpPr>
        <p:spPr>
          <a:xfrm>
            <a:off x="997526" y="0"/>
            <a:ext cx="8342313" cy="652463"/>
          </a:xfrm>
          <a:prstGeom prst="rect">
            <a:avLst/>
          </a:prstGeom>
        </p:spPr>
        <p:txBody>
          <a:bodyPr vert="horz" wrap="square" lIns="0" tIns="194089" rIns="0" bIns="0" rtlCol="0" anchor="ctr">
            <a:spAutoFit/>
          </a:bodyPr>
          <a:lstStyle/>
          <a:p>
            <a:pPr marL="323374" defTabSz="685629" eaLnBrk="1" hangingPunct="1"/>
            <a:r>
              <a:rPr sz="3299" dirty="0">
                <a:latin typeface="+mj-lt"/>
                <a:ea typeface="+mj-ea"/>
                <a:cs typeface="+mj-cs"/>
              </a:rPr>
              <a:t>Plexure Broadcast Message Creation</a:t>
            </a:r>
          </a:p>
        </p:txBody>
      </p:sp>
      <p:sp>
        <p:nvSpPr>
          <p:cNvPr id="6" name="object 11"/>
          <p:cNvSpPr txBox="1"/>
          <p:nvPr/>
        </p:nvSpPr>
        <p:spPr>
          <a:xfrm>
            <a:off x="4947965" y="1454188"/>
            <a:ext cx="82867" cy="138499"/>
          </a:xfrm>
          <a:prstGeom prst="rect">
            <a:avLst/>
          </a:prstGeom>
        </p:spPr>
        <p:txBody>
          <a:bodyPr vert="horz" wrap="square" lIns="0" tIns="0" rIns="0" bIns="0" rtlCol="0">
            <a:spAutoFit/>
          </a:bodyPr>
          <a:lstStyle/>
          <a:p>
            <a:pPr marL="9525"/>
            <a:r>
              <a:rPr sz="900" dirty="0">
                <a:latin typeface="Arial"/>
                <a:cs typeface="Arial"/>
              </a:rPr>
              <a:t>1</a:t>
            </a:r>
          </a:p>
        </p:txBody>
      </p:sp>
      <p:sp>
        <p:nvSpPr>
          <p:cNvPr id="7" name="object 17"/>
          <p:cNvSpPr txBox="1"/>
          <p:nvPr/>
        </p:nvSpPr>
        <p:spPr>
          <a:xfrm>
            <a:off x="4021080" y="4497558"/>
            <a:ext cx="82867" cy="138499"/>
          </a:xfrm>
          <a:prstGeom prst="rect">
            <a:avLst/>
          </a:prstGeom>
        </p:spPr>
        <p:txBody>
          <a:bodyPr vert="horz" wrap="square" lIns="0" tIns="0" rIns="0" bIns="0" rtlCol="0">
            <a:spAutoFit/>
          </a:bodyPr>
          <a:lstStyle/>
          <a:p>
            <a:pPr marL="9525"/>
            <a:r>
              <a:rPr sz="900" dirty="0">
                <a:latin typeface="Arial"/>
                <a:cs typeface="Arial"/>
              </a:rPr>
              <a:t>4</a:t>
            </a:r>
            <a:endParaRPr sz="900">
              <a:latin typeface="Arial"/>
              <a:cs typeface="Arial"/>
            </a:endParaRPr>
          </a:p>
        </p:txBody>
      </p:sp>
      <p:sp>
        <p:nvSpPr>
          <p:cNvPr id="8" name="object 19"/>
          <p:cNvSpPr txBox="1"/>
          <p:nvPr/>
        </p:nvSpPr>
        <p:spPr>
          <a:xfrm>
            <a:off x="4141095" y="5443220"/>
            <a:ext cx="82867" cy="138499"/>
          </a:xfrm>
          <a:prstGeom prst="rect">
            <a:avLst/>
          </a:prstGeom>
        </p:spPr>
        <p:txBody>
          <a:bodyPr vert="horz" wrap="square" lIns="0" tIns="0" rIns="0" bIns="0" rtlCol="0">
            <a:spAutoFit/>
          </a:bodyPr>
          <a:lstStyle/>
          <a:p>
            <a:pPr marL="9525"/>
            <a:r>
              <a:rPr sz="900" dirty="0">
                <a:latin typeface="Arial"/>
                <a:cs typeface="Arial"/>
              </a:rPr>
              <a:t>5</a:t>
            </a:r>
          </a:p>
        </p:txBody>
      </p:sp>
      <p:sp>
        <p:nvSpPr>
          <p:cNvPr id="9" name="object 4"/>
          <p:cNvSpPr txBox="1"/>
          <p:nvPr/>
        </p:nvSpPr>
        <p:spPr>
          <a:xfrm>
            <a:off x="6504959" y="942971"/>
            <a:ext cx="5188965" cy="3323987"/>
          </a:xfrm>
          <a:prstGeom prst="rect">
            <a:avLst/>
          </a:prstGeom>
        </p:spPr>
        <p:txBody>
          <a:bodyPr vert="horz" wrap="square" lIns="0" tIns="0" rIns="0" bIns="0" rtlCol="0">
            <a:spAutoFit/>
          </a:bodyPr>
          <a:lstStyle/>
          <a:p>
            <a:pPr marL="342900" marR="0" lvl="0" indent="-342900" algn="just">
              <a:lnSpc>
                <a:spcPct val="150000"/>
              </a:lnSpc>
              <a:spcBef>
                <a:spcPts val="0"/>
              </a:spcBef>
              <a:spcAft>
                <a:spcPts val="0"/>
              </a:spcAft>
              <a:buFont typeface="+mj-lt"/>
              <a:buAutoNum type="arabicPeriod"/>
            </a:pPr>
            <a:r>
              <a:rPr lang="en-US" kern="1200" spc="5" dirty="0">
                <a:solidFill>
                  <a:srgbClr val="000000"/>
                </a:solidFill>
                <a:effectLst/>
              </a:rPr>
              <a:t>Select Broadcast Option </a:t>
            </a:r>
            <a:r>
              <a:rPr lang="en-US" kern="1200" spc="10" dirty="0">
                <a:solidFill>
                  <a:srgbClr val="000000"/>
                </a:solidFill>
                <a:effectLst/>
              </a:rPr>
              <a:t>to</a:t>
            </a:r>
            <a:r>
              <a:rPr lang="en-US" kern="1200" spc="-40" dirty="0">
                <a:solidFill>
                  <a:srgbClr val="000000"/>
                </a:solidFill>
                <a:effectLst/>
              </a:rPr>
              <a:t> </a:t>
            </a:r>
            <a:r>
              <a:rPr lang="en-US" kern="1200" spc="5" dirty="0">
                <a:solidFill>
                  <a:srgbClr val="000000"/>
                </a:solidFill>
                <a:effectLst/>
              </a:rPr>
              <a:t>start  </a:t>
            </a:r>
            <a:r>
              <a:rPr lang="en-US" kern="1200" spc="10" dirty="0">
                <a:solidFill>
                  <a:srgbClr val="000000"/>
                </a:solidFill>
                <a:effectLst/>
              </a:rPr>
              <a:t>the </a:t>
            </a:r>
            <a:r>
              <a:rPr lang="en-US" kern="1200" spc="5" dirty="0">
                <a:solidFill>
                  <a:srgbClr val="000000"/>
                </a:solidFill>
                <a:effectLst/>
              </a:rPr>
              <a:t>push message creation</a:t>
            </a:r>
            <a:endParaRPr lang="en-US" spc="-45" dirty="0">
              <a:solidFill>
                <a:srgbClr val="000000"/>
              </a:solidFill>
            </a:endParaRPr>
          </a:p>
          <a:p>
            <a:pPr marL="342900" marR="0" lvl="0" indent="-342900">
              <a:lnSpc>
                <a:spcPct val="150000"/>
              </a:lnSpc>
              <a:spcBef>
                <a:spcPts val="0"/>
              </a:spcBef>
              <a:spcAft>
                <a:spcPts val="0"/>
              </a:spcAft>
              <a:buFont typeface="+mj-lt"/>
              <a:buAutoNum type="arabicPeriod"/>
            </a:pPr>
            <a:r>
              <a:rPr lang="en-US" kern="1200" spc="5" dirty="0">
                <a:solidFill>
                  <a:srgbClr val="000000"/>
                </a:solidFill>
                <a:effectLst/>
              </a:rPr>
              <a:t>Select </a:t>
            </a:r>
            <a:r>
              <a:rPr lang="en-US" kern="1200" spc="10" dirty="0">
                <a:solidFill>
                  <a:srgbClr val="000000"/>
                </a:solidFill>
                <a:effectLst/>
              </a:rPr>
              <a:t>a </a:t>
            </a:r>
            <a:r>
              <a:rPr lang="en-US" kern="1200" spc="5" dirty="0">
                <a:solidFill>
                  <a:srgbClr val="000000"/>
                </a:solidFill>
                <a:effectLst/>
              </a:rPr>
              <a:t>friendly name for push  message for reporting and</a:t>
            </a:r>
            <a:r>
              <a:rPr lang="en-US" kern="1200" spc="-45" dirty="0">
                <a:solidFill>
                  <a:srgbClr val="000000"/>
                </a:solidFill>
                <a:effectLst/>
              </a:rPr>
              <a:t> </a:t>
            </a:r>
            <a:r>
              <a:rPr lang="en-US" kern="1200" spc="5" dirty="0">
                <a:solidFill>
                  <a:srgbClr val="000000"/>
                </a:solidFill>
                <a:effectLst/>
              </a:rPr>
              <a:t>analytics</a:t>
            </a:r>
            <a:endParaRPr lang="en-US" dirty="0">
              <a:effectLst/>
              <a:ea typeface="Times New Roman" panose="02020603050405020304" pitchFamily="18" charset="0"/>
            </a:endParaRPr>
          </a:p>
          <a:p>
            <a:pPr marL="342900" marR="0" lvl="0" indent="-342900">
              <a:lnSpc>
                <a:spcPct val="150000"/>
              </a:lnSpc>
              <a:spcBef>
                <a:spcPts val="0"/>
              </a:spcBef>
              <a:spcAft>
                <a:spcPts val="0"/>
              </a:spcAft>
              <a:buFont typeface="+mj-lt"/>
              <a:buAutoNum type="arabicPeriod"/>
            </a:pPr>
            <a:r>
              <a:rPr lang="en-US" kern="1200" spc="5" dirty="0">
                <a:solidFill>
                  <a:srgbClr val="000000"/>
                </a:solidFill>
                <a:effectLst/>
              </a:rPr>
              <a:t>Select </a:t>
            </a:r>
            <a:r>
              <a:rPr lang="en-US" kern="1200" spc="10" dirty="0">
                <a:solidFill>
                  <a:srgbClr val="000000"/>
                </a:solidFill>
                <a:effectLst/>
              </a:rPr>
              <a:t>the </a:t>
            </a:r>
            <a:r>
              <a:rPr lang="en-US" kern="1200" spc="5" dirty="0">
                <a:solidFill>
                  <a:srgbClr val="000000"/>
                </a:solidFill>
                <a:effectLst/>
              </a:rPr>
              <a:t>campaign for </a:t>
            </a:r>
            <a:r>
              <a:rPr lang="en-US" kern="1200" spc="10" dirty="0">
                <a:solidFill>
                  <a:srgbClr val="000000"/>
                </a:solidFill>
                <a:effectLst/>
              </a:rPr>
              <a:t>the</a:t>
            </a:r>
            <a:r>
              <a:rPr lang="en-US" kern="1200" spc="-50" dirty="0">
                <a:solidFill>
                  <a:srgbClr val="000000"/>
                </a:solidFill>
                <a:effectLst/>
              </a:rPr>
              <a:t> </a:t>
            </a:r>
            <a:r>
              <a:rPr lang="en-US" kern="1200" spc="5" dirty="0">
                <a:solidFill>
                  <a:srgbClr val="000000"/>
                </a:solidFill>
                <a:effectLst/>
              </a:rPr>
              <a:t>push  message</a:t>
            </a:r>
            <a:endParaRPr lang="en-US" dirty="0">
              <a:effectLst/>
              <a:ea typeface="Times New Roman" panose="02020603050405020304" pitchFamily="18" charset="0"/>
            </a:endParaRPr>
          </a:p>
          <a:p>
            <a:pPr marL="342900" marR="0" lvl="0" indent="-342900">
              <a:lnSpc>
                <a:spcPct val="150000"/>
              </a:lnSpc>
              <a:spcBef>
                <a:spcPts val="0"/>
              </a:spcBef>
              <a:spcAft>
                <a:spcPts val="0"/>
              </a:spcAft>
              <a:buFont typeface="+mj-lt"/>
              <a:buAutoNum type="arabicPeriod"/>
            </a:pPr>
            <a:r>
              <a:rPr lang="en-US" kern="1200" spc="5" dirty="0">
                <a:solidFill>
                  <a:srgbClr val="000000"/>
                </a:solidFill>
                <a:effectLst/>
              </a:rPr>
              <a:t>Enter </a:t>
            </a:r>
            <a:r>
              <a:rPr lang="en-US" kern="1200" spc="10" dirty="0">
                <a:solidFill>
                  <a:srgbClr val="000000"/>
                </a:solidFill>
                <a:effectLst/>
              </a:rPr>
              <a:t>the </a:t>
            </a:r>
            <a:r>
              <a:rPr lang="en-US" kern="1200" spc="5" dirty="0">
                <a:solidFill>
                  <a:srgbClr val="000000"/>
                </a:solidFill>
                <a:effectLst/>
              </a:rPr>
              <a:t>content/copy of </a:t>
            </a:r>
            <a:r>
              <a:rPr lang="en-US" kern="1200" spc="10" dirty="0">
                <a:solidFill>
                  <a:srgbClr val="000000"/>
                </a:solidFill>
                <a:effectLst/>
              </a:rPr>
              <a:t>the</a:t>
            </a:r>
            <a:r>
              <a:rPr lang="en-US" kern="1200" spc="-40" dirty="0">
                <a:solidFill>
                  <a:srgbClr val="000000"/>
                </a:solidFill>
                <a:effectLst/>
              </a:rPr>
              <a:t> </a:t>
            </a:r>
            <a:r>
              <a:rPr lang="en-US" kern="1200" spc="5" dirty="0">
                <a:solidFill>
                  <a:srgbClr val="000000"/>
                </a:solidFill>
                <a:effectLst/>
              </a:rPr>
              <a:t>push  message </a:t>
            </a:r>
          </a:p>
          <a:p>
            <a:pPr marL="342900" marR="0" lvl="0" indent="-342900">
              <a:lnSpc>
                <a:spcPct val="150000"/>
              </a:lnSpc>
              <a:spcBef>
                <a:spcPts val="0"/>
              </a:spcBef>
              <a:spcAft>
                <a:spcPts val="0"/>
              </a:spcAft>
              <a:buFont typeface="+mj-lt"/>
              <a:buAutoNum type="arabicPeriod"/>
            </a:pPr>
            <a:r>
              <a:rPr lang="en-US" kern="1200" spc="5" dirty="0">
                <a:solidFill>
                  <a:srgbClr val="000000"/>
                </a:solidFill>
                <a:effectLst/>
              </a:rPr>
              <a:t>Select </a:t>
            </a:r>
            <a:r>
              <a:rPr lang="en-US" kern="1200" spc="10" dirty="0">
                <a:solidFill>
                  <a:srgbClr val="000000"/>
                </a:solidFill>
                <a:effectLst/>
              </a:rPr>
              <a:t>the </a:t>
            </a:r>
            <a:r>
              <a:rPr lang="en-US" kern="1200" dirty="0">
                <a:solidFill>
                  <a:srgbClr val="000000"/>
                </a:solidFill>
                <a:effectLst/>
              </a:rPr>
              <a:t>offer </a:t>
            </a:r>
            <a:r>
              <a:rPr lang="en-US" kern="1200" spc="10" dirty="0">
                <a:solidFill>
                  <a:srgbClr val="000000"/>
                </a:solidFill>
                <a:effectLst/>
              </a:rPr>
              <a:t>from </a:t>
            </a:r>
            <a:r>
              <a:rPr lang="en-US" kern="1200" spc="5" dirty="0">
                <a:solidFill>
                  <a:srgbClr val="000000"/>
                </a:solidFill>
                <a:effectLst/>
              </a:rPr>
              <a:t>dropdown</a:t>
            </a:r>
            <a:r>
              <a:rPr lang="en-US" kern="1200" spc="-70" dirty="0">
                <a:solidFill>
                  <a:srgbClr val="000000"/>
                </a:solidFill>
                <a:effectLst/>
              </a:rPr>
              <a:t> </a:t>
            </a:r>
            <a:r>
              <a:rPr lang="en-US" kern="1200" spc="5" dirty="0">
                <a:solidFill>
                  <a:srgbClr val="000000"/>
                </a:solidFill>
                <a:effectLst/>
              </a:rPr>
              <a:t>if  </a:t>
            </a:r>
            <a:r>
              <a:rPr lang="en-US" kern="1200" spc="10" dirty="0">
                <a:solidFill>
                  <a:srgbClr val="000000"/>
                </a:solidFill>
                <a:effectLst/>
              </a:rPr>
              <a:t>you </a:t>
            </a:r>
            <a:r>
              <a:rPr lang="en-US" kern="1200" spc="5" dirty="0">
                <a:solidFill>
                  <a:srgbClr val="000000"/>
                </a:solidFill>
                <a:effectLst/>
              </a:rPr>
              <a:t>want </a:t>
            </a:r>
            <a:r>
              <a:rPr lang="en-US" kern="1200" spc="10" dirty="0">
                <a:solidFill>
                  <a:srgbClr val="000000"/>
                </a:solidFill>
                <a:effectLst/>
              </a:rPr>
              <a:t>to </a:t>
            </a:r>
            <a:r>
              <a:rPr lang="en-US" kern="1200" spc="5" dirty="0">
                <a:solidFill>
                  <a:srgbClr val="000000"/>
                </a:solidFill>
                <a:effectLst/>
              </a:rPr>
              <a:t>deep link </a:t>
            </a:r>
            <a:r>
              <a:rPr lang="en-US" kern="1200" spc="10" dirty="0">
                <a:solidFill>
                  <a:srgbClr val="000000"/>
                </a:solidFill>
                <a:effectLst/>
              </a:rPr>
              <a:t>an</a:t>
            </a:r>
            <a:r>
              <a:rPr lang="en-US" kern="1200" spc="-75" dirty="0">
                <a:solidFill>
                  <a:srgbClr val="000000"/>
                </a:solidFill>
                <a:effectLst/>
              </a:rPr>
              <a:t> </a:t>
            </a:r>
            <a:r>
              <a:rPr lang="en-US" kern="1200" dirty="0">
                <a:solidFill>
                  <a:srgbClr val="000000"/>
                </a:solidFill>
                <a:effectLst/>
              </a:rPr>
              <a:t>offer</a:t>
            </a:r>
            <a:endParaRPr lang="en-US" dirty="0">
              <a:effectLst/>
              <a:ea typeface="Times New Roman" panose="02020603050405020304" pitchFamily="18" charset="0"/>
            </a:endParaRPr>
          </a:p>
        </p:txBody>
      </p:sp>
      <p:pic>
        <p:nvPicPr>
          <p:cNvPr id="10" name="Picture 9"/>
          <p:cNvPicPr>
            <a:picLocks noChangeAspect="1"/>
          </p:cNvPicPr>
          <p:nvPr/>
        </p:nvPicPr>
        <p:blipFill>
          <a:blip r:embed="rId3"/>
          <a:stretch>
            <a:fillRect/>
          </a:stretch>
        </p:blipFill>
        <p:spPr>
          <a:xfrm>
            <a:off x="1864579" y="939651"/>
            <a:ext cx="3215697" cy="1897436"/>
          </a:xfrm>
          <a:prstGeom prst="rect">
            <a:avLst/>
          </a:prstGeom>
        </p:spPr>
      </p:pic>
      <p:pic>
        <p:nvPicPr>
          <p:cNvPr id="11" name="Picture 10"/>
          <p:cNvPicPr>
            <a:picLocks noChangeAspect="1"/>
          </p:cNvPicPr>
          <p:nvPr/>
        </p:nvPicPr>
        <p:blipFill>
          <a:blip r:embed="rId4"/>
          <a:stretch>
            <a:fillRect/>
          </a:stretch>
        </p:blipFill>
        <p:spPr>
          <a:xfrm>
            <a:off x="6450140" y="4671263"/>
            <a:ext cx="5243784" cy="1682412"/>
          </a:xfrm>
          <a:prstGeom prst="rect">
            <a:avLst/>
          </a:prstGeom>
        </p:spPr>
      </p:pic>
    </p:spTree>
    <p:extLst>
      <p:ext uri="{BB962C8B-B14F-4D97-AF65-F5344CB8AC3E}">
        <p14:creationId xmlns:p14="http://schemas.microsoft.com/office/powerpoint/2010/main" val="423677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49</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grpSp>
        <p:nvGrpSpPr>
          <p:cNvPr id="4" name="Group 3"/>
          <p:cNvGrpSpPr/>
          <p:nvPr/>
        </p:nvGrpSpPr>
        <p:grpSpPr>
          <a:xfrm>
            <a:off x="1301663" y="1257570"/>
            <a:ext cx="4083783" cy="5143323"/>
            <a:chOff x="652056" y="1730620"/>
            <a:chExt cx="4449353" cy="4388010"/>
          </a:xfrm>
        </p:grpSpPr>
        <p:sp>
          <p:nvSpPr>
            <p:cNvPr id="5" name="object 3"/>
            <p:cNvSpPr/>
            <p:nvPr/>
          </p:nvSpPr>
          <p:spPr>
            <a:xfrm>
              <a:off x="652056" y="1730620"/>
              <a:ext cx="4447089" cy="3083719"/>
            </a:xfrm>
            <a:prstGeom prst="rect">
              <a:avLst/>
            </a:prstGeom>
            <a:blipFill>
              <a:blip r:embed="rId2" cstate="print"/>
              <a:stretch>
                <a:fillRect/>
              </a:stretch>
            </a:blipFill>
          </p:spPr>
          <p:txBody>
            <a:bodyPr wrap="square" lIns="0" tIns="0" rIns="0" bIns="0" rtlCol="0"/>
            <a:lstStyle/>
            <a:p>
              <a:endParaRPr sz="1350"/>
            </a:p>
          </p:txBody>
        </p:sp>
        <p:sp>
          <p:nvSpPr>
            <p:cNvPr id="6" name="object 12"/>
            <p:cNvSpPr/>
            <p:nvPr/>
          </p:nvSpPr>
          <p:spPr>
            <a:xfrm>
              <a:off x="654320" y="5212028"/>
              <a:ext cx="4447089" cy="906602"/>
            </a:xfrm>
            <a:prstGeom prst="rect">
              <a:avLst/>
            </a:prstGeom>
            <a:blipFill>
              <a:blip r:embed="rId3" cstate="print"/>
              <a:stretch>
                <a:fillRect/>
              </a:stretch>
            </a:blipFill>
          </p:spPr>
          <p:txBody>
            <a:bodyPr wrap="square" lIns="0" tIns="0" rIns="0" bIns="0" rtlCol="0"/>
            <a:lstStyle/>
            <a:p>
              <a:endParaRPr sz="1350"/>
            </a:p>
          </p:txBody>
        </p:sp>
      </p:grpSp>
      <p:sp>
        <p:nvSpPr>
          <p:cNvPr id="7" name="object 5"/>
          <p:cNvSpPr txBox="1">
            <a:spLocks/>
          </p:cNvSpPr>
          <p:nvPr/>
        </p:nvSpPr>
        <p:spPr>
          <a:xfrm>
            <a:off x="5585213" y="1590079"/>
            <a:ext cx="6108711" cy="4408899"/>
          </a:xfrm>
          <a:prstGeom prst="rect">
            <a:avLst/>
          </a:prstGeom>
        </p:spPr>
        <p:txBody>
          <a:bodyPr vert="horz" wrap="square" lIns="0" tIns="0" rIns="0" bIns="0" rtlCol="0">
            <a:sp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525" marR="140494" algn="just" fontAlgn="auto">
              <a:lnSpc>
                <a:spcPct val="101899"/>
              </a:lnSpc>
              <a:spcAft>
                <a:spcPts val="0"/>
              </a:spcAft>
              <a:buFont typeface="Arial" panose="020B0604020202020204" pitchFamily="34" charset="0"/>
              <a:buAutoNum type="arabicPeriod" startAt="6"/>
              <a:tabLst>
                <a:tab pos="187166" algn="l"/>
              </a:tabLst>
            </a:pPr>
            <a:r>
              <a:rPr lang="en-IN" sz="1800" spc="8" dirty="0"/>
              <a:t>Select Android Only additional </a:t>
            </a:r>
            <a:r>
              <a:rPr lang="en-IN" sz="1800" spc="4" dirty="0"/>
              <a:t>field  </a:t>
            </a:r>
            <a:r>
              <a:rPr lang="en-IN" sz="1800" spc="-4" dirty="0"/>
              <a:t>(Title) </a:t>
            </a:r>
            <a:r>
              <a:rPr lang="en-IN" sz="1800" dirty="0"/>
              <a:t>if </a:t>
            </a:r>
            <a:r>
              <a:rPr lang="en-IN" sz="1800" spc="8" dirty="0"/>
              <a:t>required. For iOS you can select  Badge number </a:t>
            </a:r>
            <a:r>
              <a:rPr lang="en-IN" sz="1800" spc="4" dirty="0"/>
              <a:t>for a </a:t>
            </a:r>
            <a:r>
              <a:rPr lang="en-IN" sz="1800" spc="8" dirty="0"/>
              <a:t>small number  </a:t>
            </a:r>
            <a:r>
              <a:rPr lang="en-IN" sz="1800" spc="4" dirty="0"/>
              <a:t>identifier </a:t>
            </a:r>
            <a:r>
              <a:rPr lang="en-IN" sz="1800" dirty="0"/>
              <a:t>to </a:t>
            </a:r>
            <a:r>
              <a:rPr lang="en-IN" sz="1800" spc="11" dirty="0"/>
              <a:t>appear </a:t>
            </a:r>
            <a:r>
              <a:rPr lang="en-IN" sz="1800" spc="8" dirty="0"/>
              <a:t>on </a:t>
            </a:r>
            <a:r>
              <a:rPr lang="en-IN" sz="1800" spc="4" dirty="0"/>
              <a:t>the </a:t>
            </a:r>
            <a:r>
              <a:rPr lang="en-IN" sz="1800" spc="11" dirty="0"/>
              <a:t>app </a:t>
            </a:r>
            <a:r>
              <a:rPr lang="en-IN" sz="1800" spc="8" dirty="0"/>
              <a:t>icon.  Please ignore Sound </a:t>
            </a:r>
            <a:r>
              <a:rPr lang="en-IN" sz="1800" spc="4" dirty="0"/>
              <a:t>option. </a:t>
            </a:r>
            <a:r>
              <a:rPr lang="en-IN" sz="1800" spc="8" dirty="0"/>
              <a:t>(App  </a:t>
            </a:r>
            <a:r>
              <a:rPr lang="en-IN" sz="1800" spc="11" dirty="0"/>
              <a:t>development </a:t>
            </a:r>
            <a:r>
              <a:rPr lang="en-IN" sz="1800" spc="4" dirty="0"/>
              <a:t>is </a:t>
            </a:r>
            <a:r>
              <a:rPr lang="en-IN" sz="1800" spc="8" dirty="0"/>
              <a:t>required </a:t>
            </a:r>
            <a:r>
              <a:rPr lang="en-IN" sz="1800" dirty="0"/>
              <a:t>to </a:t>
            </a:r>
            <a:r>
              <a:rPr lang="en-IN" sz="1800" spc="11" dirty="0"/>
              <a:t>enable </a:t>
            </a:r>
            <a:r>
              <a:rPr lang="en-IN" sz="1800" spc="8" dirty="0"/>
              <a:t>these  features)</a:t>
            </a:r>
          </a:p>
          <a:p>
            <a:pPr algn="just" fontAlgn="auto">
              <a:spcBef>
                <a:spcPts val="4"/>
              </a:spcBef>
              <a:spcAft>
                <a:spcPts val="0"/>
              </a:spcAft>
              <a:buClr>
                <a:srgbClr val="FFFFFF"/>
              </a:buClr>
              <a:buFont typeface="Arial"/>
              <a:buAutoNum type="arabicPeriod" startAt="6"/>
            </a:pPr>
            <a:endParaRPr lang="en-IN" sz="1800" dirty="0">
              <a:cs typeface="Times New Roman"/>
            </a:endParaRPr>
          </a:p>
          <a:p>
            <a:pPr marL="9525" marR="3810" algn="just" fontAlgn="auto">
              <a:lnSpc>
                <a:spcPct val="101600"/>
              </a:lnSpc>
              <a:spcAft>
                <a:spcPts val="0"/>
              </a:spcAft>
              <a:buFont typeface="Arial" panose="020B0604020202020204" pitchFamily="34" charset="0"/>
              <a:buAutoNum type="arabicPeriod" startAt="6"/>
              <a:tabLst>
                <a:tab pos="187166" algn="l"/>
              </a:tabLst>
            </a:pPr>
            <a:r>
              <a:rPr lang="en-IN" sz="1800" spc="8" dirty="0"/>
              <a:t>Select </a:t>
            </a:r>
            <a:r>
              <a:rPr lang="en-IN" sz="1800" spc="4" dirty="0"/>
              <a:t>the </a:t>
            </a:r>
            <a:r>
              <a:rPr lang="en-IN" sz="1800" spc="8" dirty="0"/>
              <a:t>tags </a:t>
            </a:r>
            <a:r>
              <a:rPr lang="en-IN" sz="1800" dirty="0"/>
              <a:t>to </a:t>
            </a:r>
            <a:r>
              <a:rPr lang="en-IN" sz="1800" spc="8" dirty="0"/>
              <a:t>target </a:t>
            </a:r>
            <a:r>
              <a:rPr lang="en-IN" sz="1800" spc="4" dirty="0"/>
              <a:t>the </a:t>
            </a:r>
            <a:r>
              <a:rPr lang="en-IN" sz="1800" spc="8" dirty="0"/>
              <a:t>push  message </a:t>
            </a:r>
            <a:r>
              <a:rPr lang="en-IN" sz="1800" dirty="0"/>
              <a:t>to </a:t>
            </a:r>
            <a:r>
              <a:rPr lang="en-IN" sz="1800" spc="4" dirty="0"/>
              <a:t>a specific </a:t>
            </a:r>
            <a:r>
              <a:rPr lang="en-IN" sz="1800" spc="8" dirty="0"/>
              <a:t>audience or </a:t>
            </a:r>
            <a:r>
              <a:rPr lang="en-IN" sz="1800" spc="4" dirty="0"/>
              <a:t>a target  </a:t>
            </a:r>
            <a:r>
              <a:rPr lang="en-IN" sz="1800" spc="11" dirty="0"/>
              <a:t>group. </a:t>
            </a:r>
            <a:r>
              <a:rPr lang="en-IN" sz="1800" spc="8" dirty="0"/>
              <a:t>Please use Android or iOS device  tags </a:t>
            </a:r>
            <a:r>
              <a:rPr lang="en-IN" sz="1800" spc="4" dirty="0"/>
              <a:t>if </a:t>
            </a:r>
            <a:r>
              <a:rPr lang="en-IN" sz="1800" spc="8" dirty="0"/>
              <a:t>you </a:t>
            </a:r>
            <a:r>
              <a:rPr lang="en-IN" sz="1800" spc="11" dirty="0"/>
              <a:t>want </a:t>
            </a:r>
            <a:r>
              <a:rPr lang="en-IN" sz="1800" dirty="0"/>
              <a:t>to </a:t>
            </a:r>
            <a:r>
              <a:rPr lang="en-IN" sz="1800" spc="8" dirty="0"/>
              <a:t>target by</a:t>
            </a:r>
            <a:r>
              <a:rPr lang="en-IN" sz="1800" spc="-53" dirty="0"/>
              <a:t> </a:t>
            </a:r>
            <a:r>
              <a:rPr lang="en-IN" sz="1800" spc="11" dirty="0"/>
              <a:t>OS</a:t>
            </a:r>
          </a:p>
          <a:p>
            <a:pPr marL="9525" marR="3810" algn="just" fontAlgn="auto">
              <a:lnSpc>
                <a:spcPct val="101600"/>
              </a:lnSpc>
              <a:spcAft>
                <a:spcPts val="0"/>
              </a:spcAft>
              <a:buFont typeface="Arial" panose="020B0604020202020204" pitchFamily="34" charset="0"/>
              <a:buAutoNum type="arabicPeriod" startAt="6"/>
              <a:tabLst>
                <a:tab pos="187166" algn="l"/>
              </a:tabLst>
            </a:pPr>
            <a:endParaRPr lang="en-IN" sz="1800" spc="11" dirty="0"/>
          </a:p>
          <a:p>
            <a:pPr marL="9525" marR="3810" algn="just" fontAlgn="auto">
              <a:lnSpc>
                <a:spcPct val="101600"/>
              </a:lnSpc>
              <a:spcAft>
                <a:spcPts val="0"/>
              </a:spcAft>
              <a:buFont typeface="Arial" panose="020B0604020202020204" pitchFamily="34" charset="0"/>
              <a:buAutoNum type="arabicPeriod" startAt="6"/>
              <a:tabLst>
                <a:tab pos="187166" algn="l"/>
              </a:tabLst>
            </a:pPr>
            <a:r>
              <a:rPr lang="en-IN" sz="1800" spc="4" dirty="0"/>
              <a:t>Click </a:t>
            </a:r>
            <a:r>
              <a:rPr lang="en-IN" sz="1800" spc="11" dirty="0"/>
              <a:t>Get Approval and </a:t>
            </a:r>
            <a:r>
              <a:rPr lang="en-IN" sz="1800" spc="4" dirty="0"/>
              <a:t>Activate </a:t>
            </a:r>
            <a:r>
              <a:rPr lang="en-IN" sz="1800" dirty="0"/>
              <a:t>to  </a:t>
            </a:r>
            <a:r>
              <a:rPr lang="en-IN" sz="1800" spc="8" dirty="0"/>
              <a:t>trigger </a:t>
            </a:r>
            <a:r>
              <a:rPr lang="en-IN" sz="1800" spc="4" dirty="0"/>
              <a:t>the </a:t>
            </a:r>
            <a:r>
              <a:rPr lang="en-IN" sz="1800" spc="8" dirty="0"/>
              <a:t>publishing </a:t>
            </a:r>
            <a:r>
              <a:rPr lang="en-IN" sz="1800" dirty="0"/>
              <a:t>workflow. </a:t>
            </a:r>
            <a:r>
              <a:rPr lang="en-IN" sz="1800" spc="8" dirty="0"/>
              <a:t>The  </a:t>
            </a:r>
            <a:r>
              <a:rPr lang="en-IN" sz="1800" spc="11" dirty="0"/>
              <a:t>approver </a:t>
            </a:r>
            <a:r>
              <a:rPr lang="en-IN" sz="1800" spc="4" dirty="0"/>
              <a:t>will </a:t>
            </a:r>
            <a:r>
              <a:rPr lang="en-IN" sz="1800" spc="8" dirty="0"/>
              <a:t>receive an email </a:t>
            </a:r>
            <a:r>
              <a:rPr lang="en-IN" sz="1800" spc="4" dirty="0"/>
              <a:t>with </a:t>
            </a:r>
            <a:r>
              <a:rPr lang="en-IN" sz="1800" spc="11" dirty="0"/>
              <a:t>an  </a:t>
            </a:r>
            <a:r>
              <a:rPr lang="en-IN" sz="1800" spc="8" dirty="0"/>
              <a:t>option </a:t>
            </a:r>
            <a:r>
              <a:rPr lang="en-IN" sz="1800" dirty="0"/>
              <a:t>to </a:t>
            </a:r>
            <a:r>
              <a:rPr lang="en-IN" sz="1800" spc="11" dirty="0"/>
              <a:t>Approve </a:t>
            </a:r>
            <a:r>
              <a:rPr lang="en-IN" sz="1800" spc="8" dirty="0"/>
              <a:t>or reject </a:t>
            </a:r>
            <a:r>
              <a:rPr lang="en-IN" sz="1800" spc="4" dirty="0"/>
              <a:t>a</a:t>
            </a:r>
            <a:r>
              <a:rPr lang="en-IN" sz="1800" spc="-101" dirty="0"/>
              <a:t> </a:t>
            </a:r>
            <a:r>
              <a:rPr lang="en-IN" sz="1800" spc="11" dirty="0"/>
              <a:t>message</a:t>
            </a:r>
          </a:p>
        </p:txBody>
      </p:sp>
      <p:sp>
        <p:nvSpPr>
          <p:cNvPr id="8" name="object 6"/>
          <p:cNvSpPr/>
          <p:nvPr/>
        </p:nvSpPr>
        <p:spPr>
          <a:xfrm>
            <a:off x="2107766" y="2451406"/>
            <a:ext cx="274320" cy="261461"/>
          </a:xfrm>
          <a:custGeom>
            <a:avLst/>
            <a:gdLst/>
            <a:ahLst/>
            <a:cxnLst/>
            <a:rect l="l" t="t" r="r" b="b"/>
            <a:pathLst>
              <a:path w="365760" h="348614">
                <a:moveTo>
                  <a:pt x="182880" y="0"/>
                </a:moveTo>
                <a:lnTo>
                  <a:pt x="134262" y="6225"/>
                </a:lnTo>
                <a:lnTo>
                  <a:pt x="90576" y="23795"/>
                </a:lnTo>
                <a:lnTo>
                  <a:pt x="53563" y="51047"/>
                </a:lnTo>
                <a:lnTo>
                  <a:pt x="24968" y="86322"/>
                </a:lnTo>
                <a:lnTo>
                  <a:pt x="6532" y="127958"/>
                </a:lnTo>
                <a:lnTo>
                  <a:pt x="0" y="174294"/>
                </a:lnTo>
                <a:lnTo>
                  <a:pt x="6532" y="220626"/>
                </a:lnTo>
                <a:lnTo>
                  <a:pt x="24968" y="262261"/>
                </a:lnTo>
                <a:lnTo>
                  <a:pt x="53563" y="297537"/>
                </a:lnTo>
                <a:lnTo>
                  <a:pt x="90576" y="324791"/>
                </a:lnTo>
                <a:lnTo>
                  <a:pt x="134262" y="342363"/>
                </a:lnTo>
                <a:lnTo>
                  <a:pt x="182880" y="348589"/>
                </a:lnTo>
                <a:lnTo>
                  <a:pt x="231497" y="342363"/>
                </a:lnTo>
                <a:lnTo>
                  <a:pt x="275183" y="324791"/>
                </a:lnTo>
                <a:lnTo>
                  <a:pt x="312196" y="297537"/>
                </a:lnTo>
                <a:lnTo>
                  <a:pt x="340791" y="262261"/>
                </a:lnTo>
                <a:lnTo>
                  <a:pt x="359227" y="220626"/>
                </a:lnTo>
                <a:lnTo>
                  <a:pt x="365760" y="174294"/>
                </a:lnTo>
                <a:lnTo>
                  <a:pt x="359227" y="127958"/>
                </a:lnTo>
                <a:lnTo>
                  <a:pt x="340791" y="86322"/>
                </a:lnTo>
                <a:lnTo>
                  <a:pt x="312196" y="51047"/>
                </a:lnTo>
                <a:lnTo>
                  <a:pt x="275183" y="23795"/>
                </a:lnTo>
                <a:lnTo>
                  <a:pt x="231497" y="6225"/>
                </a:lnTo>
                <a:lnTo>
                  <a:pt x="182880" y="0"/>
                </a:lnTo>
                <a:close/>
              </a:path>
            </a:pathLst>
          </a:custGeom>
          <a:solidFill>
            <a:srgbClr val="F79421"/>
          </a:solidFill>
        </p:spPr>
        <p:txBody>
          <a:bodyPr wrap="square" lIns="0" tIns="0" rIns="0" bIns="0" rtlCol="0"/>
          <a:lstStyle/>
          <a:p>
            <a:endParaRPr sz="1350"/>
          </a:p>
        </p:txBody>
      </p:sp>
      <p:sp>
        <p:nvSpPr>
          <p:cNvPr id="9" name="object 7"/>
          <p:cNvSpPr txBox="1"/>
          <p:nvPr/>
        </p:nvSpPr>
        <p:spPr>
          <a:xfrm>
            <a:off x="2203855" y="2510356"/>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6</a:t>
            </a:r>
            <a:endParaRPr sz="900" dirty="0">
              <a:latin typeface="Arial"/>
              <a:cs typeface="Arial"/>
            </a:endParaRPr>
          </a:p>
        </p:txBody>
      </p:sp>
      <p:sp>
        <p:nvSpPr>
          <p:cNvPr id="10" name="object 8"/>
          <p:cNvSpPr/>
          <p:nvPr/>
        </p:nvSpPr>
        <p:spPr>
          <a:xfrm>
            <a:off x="2107766" y="3333821"/>
            <a:ext cx="274320" cy="261461"/>
          </a:xfrm>
          <a:custGeom>
            <a:avLst/>
            <a:gdLst/>
            <a:ahLst/>
            <a:cxnLst/>
            <a:rect l="l" t="t" r="r" b="b"/>
            <a:pathLst>
              <a:path w="365760" h="348614">
                <a:moveTo>
                  <a:pt x="182880" y="0"/>
                </a:moveTo>
                <a:lnTo>
                  <a:pt x="134262" y="6225"/>
                </a:lnTo>
                <a:lnTo>
                  <a:pt x="90576" y="23795"/>
                </a:lnTo>
                <a:lnTo>
                  <a:pt x="53563" y="51047"/>
                </a:lnTo>
                <a:lnTo>
                  <a:pt x="24968" y="86322"/>
                </a:lnTo>
                <a:lnTo>
                  <a:pt x="6532" y="127958"/>
                </a:lnTo>
                <a:lnTo>
                  <a:pt x="0" y="174294"/>
                </a:lnTo>
                <a:lnTo>
                  <a:pt x="6532" y="220626"/>
                </a:lnTo>
                <a:lnTo>
                  <a:pt x="24968" y="262261"/>
                </a:lnTo>
                <a:lnTo>
                  <a:pt x="53563" y="297537"/>
                </a:lnTo>
                <a:lnTo>
                  <a:pt x="90576" y="324791"/>
                </a:lnTo>
                <a:lnTo>
                  <a:pt x="134262" y="342363"/>
                </a:lnTo>
                <a:lnTo>
                  <a:pt x="182880" y="348589"/>
                </a:lnTo>
                <a:lnTo>
                  <a:pt x="231497" y="342363"/>
                </a:lnTo>
                <a:lnTo>
                  <a:pt x="275183" y="324791"/>
                </a:lnTo>
                <a:lnTo>
                  <a:pt x="312196" y="297537"/>
                </a:lnTo>
                <a:lnTo>
                  <a:pt x="340791" y="262261"/>
                </a:lnTo>
                <a:lnTo>
                  <a:pt x="359227" y="220626"/>
                </a:lnTo>
                <a:lnTo>
                  <a:pt x="365760" y="174294"/>
                </a:lnTo>
                <a:lnTo>
                  <a:pt x="359227" y="127958"/>
                </a:lnTo>
                <a:lnTo>
                  <a:pt x="340791" y="86322"/>
                </a:lnTo>
                <a:lnTo>
                  <a:pt x="312196" y="51047"/>
                </a:lnTo>
                <a:lnTo>
                  <a:pt x="275183" y="23795"/>
                </a:lnTo>
                <a:lnTo>
                  <a:pt x="231497" y="6225"/>
                </a:lnTo>
                <a:lnTo>
                  <a:pt x="182880" y="0"/>
                </a:lnTo>
                <a:close/>
              </a:path>
            </a:pathLst>
          </a:custGeom>
          <a:solidFill>
            <a:srgbClr val="F79421"/>
          </a:solidFill>
        </p:spPr>
        <p:txBody>
          <a:bodyPr wrap="square" lIns="0" tIns="0" rIns="0" bIns="0" rtlCol="0"/>
          <a:lstStyle/>
          <a:p>
            <a:endParaRPr sz="1350"/>
          </a:p>
        </p:txBody>
      </p:sp>
      <p:sp>
        <p:nvSpPr>
          <p:cNvPr id="11" name="object 9"/>
          <p:cNvSpPr txBox="1"/>
          <p:nvPr/>
        </p:nvSpPr>
        <p:spPr>
          <a:xfrm>
            <a:off x="2203855" y="3392771"/>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7</a:t>
            </a:r>
            <a:endParaRPr sz="900">
              <a:latin typeface="Arial"/>
              <a:cs typeface="Arial"/>
            </a:endParaRPr>
          </a:p>
        </p:txBody>
      </p:sp>
      <p:sp>
        <p:nvSpPr>
          <p:cNvPr id="12" name="object 13"/>
          <p:cNvSpPr/>
          <p:nvPr/>
        </p:nvSpPr>
        <p:spPr>
          <a:xfrm>
            <a:off x="2862147" y="5343930"/>
            <a:ext cx="274320" cy="261461"/>
          </a:xfrm>
          <a:custGeom>
            <a:avLst/>
            <a:gdLst/>
            <a:ahLst/>
            <a:cxnLst/>
            <a:rect l="l" t="t" r="r" b="b"/>
            <a:pathLst>
              <a:path w="365760" h="348614">
                <a:moveTo>
                  <a:pt x="182879" y="0"/>
                </a:moveTo>
                <a:lnTo>
                  <a:pt x="134262" y="6225"/>
                </a:lnTo>
                <a:lnTo>
                  <a:pt x="90576" y="23796"/>
                </a:lnTo>
                <a:lnTo>
                  <a:pt x="53563" y="51049"/>
                </a:lnTo>
                <a:lnTo>
                  <a:pt x="24968" y="86324"/>
                </a:lnTo>
                <a:lnTo>
                  <a:pt x="6532" y="127959"/>
                </a:lnTo>
                <a:lnTo>
                  <a:pt x="0" y="174293"/>
                </a:lnTo>
                <a:lnTo>
                  <a:pt x="6532" y="220627"/>
                </a:lnTo>
                <a:lnTo>
                  <a:pt x="24968" y="262262"/>
                </a:lnTo>
                <a:lnTo>
                  <a:pt x="53563" y="297537"/>
                </a:lnTo>
                <a:lnTo>
                  <a:pt x="90576" y="324790"/>
                </a:lnTo>
                <a:lnTo>
                  <a:pt x="134262" y="342361"/>
                </a:lnTo>
                <a:lnTo>
                  <a:pt x="182879" y="348587"/>
                </a:lnTo>
                <a:lnTo>
                  <a:pt x="231497" y="342361"/>
                </a:lnTo>
                <a:lnTo>
                  <a:pt x="275183" y="324790"/>
                </a:lnTo>
                <a:lnTo>
                  <a:pt x="312196" y="297537"/>
                </a:lnTo>
                <a:lnTo>
                  <a:pt x="340791" y="262262"/>
                </a:lnTo>
                <a:lnTo>
                  <a:pt x="359227" y="220627"/>
                </a:lnTo>
                <a:lnTo>
                  <a:pt x="365759" y="174293"/>
                </a:lnTo>
                <a:lnTo>
                  <a:pt x="359227" y="127959"/>
                </a:lnTo>
                <a:lnTo>
                  <a:pt x="340791" y="86324"/>
                </a:lnTo>
                <a:lnTo>
                  <a:pt x="312196" y="51049"/>
                </a:lnTo>
                <a:lnTo>
                  <a:pt x="275183" y="23796"/>
                </a:lnTo>
                <a:lnTo>
                  <a:pt x="231497" y="6225"/>
                </a:lnTo>
                <a:lnTo>
                  <a:pt x="182879" y="0"/>
                </a:lnTo>
                <a:close/>
              </a:path>
            </a:pathLst>
          </a:custGeom>
          <a:solidFill>
            <a:srgbClr val="F79421"/>
          </a:solidFill>
        </p:spPr>
        <p:txBody>
          <a:bodyPr wrap="square" lIns="0" tIns="0" rIns="0" bIns="0" rtlCol="0"/>
          <a:lstStyle/>
          <a:p>
            <a:endParaRPr sz="1350"/>
          </a:p>
        </p:txBody>
      </p:sp>
      <p:sp>
        <p:nvSpPr>
          <p:cNvPr id="13" name="object 14"/>
          <p:cNvSpPr txBox="1"/>
          <p:nvPr/>
        </p:nvSpPr>
        <p:spPr>
          <a:xfrm>
            <a:off x="2958235" y="5402880"/>
            <a:ext cx="82867" cy="138499"/>
          </a:xfrm>
          <a:prstGeom prst="rect">
            <a:avLst/>
          </a:prstGeom>
        </p:spPr>
        <p:txBody>
          <a:bodyPr vert="horz" wrap="square" lIns="0" tIns="0" rIns="0" bIns="0" rtlCol="0">
            <a:spAutoFit/>
          </a:bodyPr>
          <a:lstStyle/>
          <a:p>
            <a:pPr marL="9525"/>
            <a:r>
              <a:rPr sz="900" dirty="0">
                <a:solidFill>
                  <a:srgbClr val="FFFFFF"/>
                </a:solidFill>
                <a:latin typeface="Arial"/>
                <a:cs typeface="Arial"/>
              </a:rPr>
              <a:t>8</a:t>
            </a:r>
            <a:endParaRPr sz="900">
              <a:latin typeface="Arial"/>
              <a:cs typeface="Arial"/>
            </a:endParaRPr>
          </a:p>
        </p:txBody>
      </p:sp>
      <p:sp>
        <p:nvSpPr>
          <p:cNvPr id="14" name="object 3">
            <a:extLst>
              <a:ext uri="{FF2B5EF4-FFF2-40B4-BE49-F238E27FC236}">
                <a16:creationId xmlns:a16="http://schemas.microsoft.com/office/drawing/2014/main" id="{D30E3AE3-6480-4D14-BE69-842CF74DD9C4}"/>
              </a:ext>
            </a:extLst>
          </p:cNvPr>
          <p:cNvSpPr txBox="1">
            <a:spLocks/>
          </p:cNvSpPr>
          <p:nvPr/>
        </p:nvSpPr>
        <p:spPr>
          <a:xfrm>
            <a:off x="1048281" y="-19241"/>
            <a:ext cx="8678486" cy="652904"/>
          </a:xfrm>
          <a:prstGeom prst="rect">
            <a:avLst/>
          </a:prstGeom>
        </p:spPr>
        <p:txBody>
          <a:bodyPr vert="horz" wrap="square" lIns="0" tIns="194089" rIns="0" bIns="0" rtlCol="0" anchor="ctr">
            <a:spAutoFit/>
          </a:bodyPr>
          <a:lstStyle>
            <a:lvl1pPr algn="l" defTabSz="685388" rtl="0" eaLnBrk="0" fontAlgn="base" hangingPunct="0">
              <a:lnSpc>
                <a:spcPct val="90000"/>
              </a:lnSpc>
              <a:spcBef>
                <a:spcPct val="0"/>
              </a:spcBef>
              <a:spcAft>
                <a:spcPct val="0"/>
              </a:spcAft>
              <a:defRPr sz="2026" b="1" kern="1200">
                <a:solidFill>
                  <a:schemeClr val="tx1"/>
                </a:solidFill>
                <a:latin typeface="Open Sans"/>
                <a:ea typeface="ＭＳ Ｐゴシック" charset="-128"/>
                <a:cs typeface="Open Sans"/>
              </a:defRPr>
            </a:lvl1pPr>
            <a:lvl2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2pPr>
            <a:lvl3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3pPr>
            <a:lvl4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4pPr>
            <a:lvl5pPr algn="l" defTabSz="685388" rtl="0" eaLnBrk="0" fontAlgn="base" hangingPunct="0">
              <a:lnSpc>
                <a:spcPct val="90000"/>
              </a:lnSpc>
              <a:spcBef>
                <a:spcPct val="0"/>
              </a:spcBef>
              <a:spcAft>
                <a:spcPct val="0"/>
              </a:spcAft>
              <a:defRPr sz="2026" b="1">
                <a:solidFill>
                  <a:schemeClr val="tx1"/>
                </a:solidFill>
                <a:latin typeface="Open Sans" charset="0"/>
                <a:ea typeface="ＭＳ Ｐゴシック" charset="-128"/>
                <a:cs typeface="Open Sans" pitchFamily="4" charset="0"/>
              </a:defRPr>
            </a:lvl5pPr>
            <a:lvl6pPr marL="171496"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6pPr>
            <a:lvl7pPr marL="342991"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7pPr>
            <a:lvl8pPr marL="514487"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8pPr>
            <a:lvl9pPr marL="685983" algn="l" defTabSz="685388" rtl="0" fontAlgn="base">
              <a:lnSpc>
                <a:spcPct val="90000"/>
              </a:lnSpc>
              <a:spcBef>
                <a:spcPct val="0"/>
              </a:spcBef>
              <a:spcAft>
                <a:spcPct val="0"/>
              </a:spcAft>
              <a:defRPr sz="3263">
                <a:solidFill>
                  <a:schemeClr val="tx1"/>
                </a:solidFill>
                <a:latin typeface="Montserrat Semi Bold" charset="0"/>
                <a:ea typeface="ＭＳ Ｐゴシック" charset="-128"/>
                <a:cs typeface="ＭＳ Ｐゴシック" charset="-128"/>
              </a:defRPr>
            </a:lvl9pPr>
          </a:lstStyle>
          <a:p>
            <a:pPr marL="323374" defTabSz="685629" eaLnBrk="1" hangingPunct="1"/>
            <a:r>
              <a:rPr lang="en-US" sz="3299" dirty="0" err="1">
                <a:latin typeface="+mj-lt"/>
                <a:ea typeface="+mj-ea"/>
                <a:cs typeface="+mj-cs"/>
              </a:rPr>
              <a:t>Plexure</a:t>
            </a:r>
            <a:r>
              <a:rPr lang="en-US" sz="3299" dirty="0">
                <a:latin typeface="+mj-lt"/>
                <a:ea typeface="+mj-ea"/>
                <a:cs typeface="+mj-cs"/>
              </a:rPr>
              <a:t> Broadcast Message Creation</a:t>
            </a:r>
          </a:p>
        </p:txBody>
      </p:sp>
    </p:spTree>
    <p:extLst>
      <p:ext uri="{BB962C8B-B14F-4D97-AF65-F5344CB8AC3E}">
        <p14:creationId xmlns:p14="http://schemas.microsoft.com/office/powerpoint/2010/main" val="220112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sp>
        <p:nvSpPr>
          <p:cNvPr id="8" name="TextBox 7">
            <a:extLst>
              <a:ext uri="{FF2B5EF4-FFF2-40B4-BE49-F238E27FC236}">
                <a16:creationId xmlns:a16="http://schemas.microsoft.com/office/drawing/2014/main" id="{E51DD521-B83A-4212-864A-696A55B4BF26}"/>
              </a:ext>
            </a:extLst>
          </p:cNvPr>
          <p:cNvSpPr txBox="1"/>
          <p:nvPr/>
        </p:nvSpPr>
        <p:spPr>
          <a:xfrm>
            <a:off x="1454192" y="104465"/>
            <a:ext cx="5086350" cy="523220"/>
          </a:xfrm>
          <a:prstGeom prst="rect">
            <a:avLst/>
          </a:prstGeom>
          <a:noFill/>
        </p:spPr>
        <p:txBody>
          <a:bodyPr wrap="square" rtlCol="0">
            <a:spAutoFit/>
          </a:bodyPr>
          <a:lstStyle/>
          <a:p>
            <a:r>
              <a:rPr lang="en-IN" sz="2800" b="1" dirty="0">
                <a:latin typeface="Montserrat Semi Bold"/>
                <a:ea typeface="ＭＳ Ｐゴシック" charset="-128"/>
              </a:rPr>
              <a:t>Plexure Overview </a:t>
            </a:r>
          </a:p>
        </p:txBody>
      </p:sp>
      <p:pic>
        <p:nvPicPr>
          <p:cNvPr id="9" name="Picture 8">
            <a:extLst>
              <a:ext uri="{FF2B5EF4-FFF2-40B4-BE49-F238E27FC236}">
                <a16:creationId xmlns:a16="http://schemas.microsoft.com/office/drawing/2014/main" id="{1BCE780D-ABDB-45E8-8DB8-87829882EE70}"/>
              </a:ext>
            </a:extLst>
          </p:cNvPr>
          <p:cNvPicPr>
            <a:picLocks noChangeAspect="1"/>
          </p:cNvPicPr>
          <p:nvPr/>
        </p:nvPicPr>
        <p:blipFill>
          <a:blip r:embed="rId3"/>
          <a:stretch>
            <a:fillRect/>
          </a:stretch>
        </p:blipFill>
        <p:spPr>
          <a:xfrm>
            <a:off x="1454192" y="627685"/>
            <a:ext cx="9758753" cy="5885049"/>
          </a:xfrm>
          <a:prstGeom prst="rect">
            <a:avLst/>
          </a:prstGeom>
        </p:spPr>
      </p:pic>
    </p:spTree>
    <p:extLst>
      <p:ext uri="{BB962C8B-B14F-4D97-AF65-F5344CB8AC3E}">
        <p14:creationId xmlns:p14="http://schemas.microsoft.com/office/powerpoint/2010/main" val="367212577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ctr" defTabSz="914377" rtl="0" eaLnBrk="1" fontAlgn="auto" latinLnBrk="0" hangingPunct="1">
              <a:lnSpc>
                <a:spcPct val="90000"/>
              </a:lnSpc>
              <a:spcBef>
                <a:spcPts val="1800"/>
              </a:spcBef>
              <a:spcAft>
                <a:spcPts val="0"/>
              </a:spcAft>
              <a:buClrTx/>
              <a:buSzPct val="95000"/>
              <a:buFontTx/>
              <a:buNone/>
              <a:tabLst/>
              <a:defRPr/>
            </a:pPr>
            <a:fld id="{EA543DA1-053B-459F-9A3B-E2E644C3A7CD}" type="slidenum">
              <a:rPr kumimoji="0" lang="en-US" sz="1000" b="0" i="0" u="none" strike="noStrike" kern="1200" cap="none" spc="0" normalizeH="0" baseline="0" noProof="0" smtClean="0">
                <a:ln>
                  <a:noFill/>
                </a:ln>
                <a:solidFill>
                  <a:srgbClr val="000000"/>
                </a:solidFill>
                <a:effectLst/>
                <a:uLnTx/>
                <a:uFillTx/>
                <a:latin typeface="Speedee"/>
                <a:ea typeface="+mn-ea"/>
                <a:cs typeface="+mn-cs"/>
              </a:rPr>
              <a:pPr marL="0" marR="0" lvl="0" indent="0" algn="ctr" defTabSz="914377" rtl="0" eaLnBrk="1" fontAlgn="auto" latinLnBrk="0" hangingPunct="1">
                <a:lnSpc>
                  <a:spcPct val="90000"/>
                </a:lnSpc>
                <a:spcBef>
                  <a:spcPts val="1800"/>
                </a:spcBef>
                <a:spcAft>
                  <a:spcPts val="0"/>
                </a:spcAft>
                <a:buClrTx/>
                <a:buSzPct val="95000"/>
                <a:buFontTx/>
                <a:buNone/>
                <a:tabLst/>
                <a:defRPr/>
              </a:pPr>
              <a:t>50</a:t>
            </a:fld>
            <a:endParaRPr kumimoji="0" lang="en-US" sz="1000" b="0" i="0" u="none" strike="noStrike" kern="1200" cap="none" spc="0" normalizeH="0" baseline="0" noProof="0" dirty="0">
              <a:ln>
                <a:noFill/>
              </a:ln>
              <a:solidFill>
                <a:srgbClr val="000000"/>
              </a:solidFill>
              <a:effectLst/>
              <a:uLnTx/>
              <a:uFillTx/>
              <a:latin typeface="Speedee"/>
              <a:ea typeface="+mn-ea"/>
              <a:cs typeface="+mn-cs"/>
            </a:endParaRPr>
          </a:p>
        </p:txBody>
      </p:sp>
      <p:sp>
        <p:nvSpPr>
          <p:cNvPr id="4" name="Title 1"/>
          <p:cNvSpPr>
            <a:spLocks noGrp="1"/>
          </p:cNvSpPr>
          <p:nvPr>
            <p:ph type="ctrTitle" idx="4294967295"/>
          </p:nvPr>
        </p:nvSpPr>
        <p:spPr>
          <a:xfrm>
            <a:off x="988291" y="0"/>
            <a:ext cx="9144000" cy="652463"/>
          </a:xfrm>
          <a:prstGeom prst="rect">
            <a:avLst/>
          </a:prstGeom>
        </p:spPr>
        <p:txBody>
          <a:bodyPr vert="horz" wrap="square" lIns="0" tIns="194089" rIns="0" bIns="0" rtlCol="0" anchor="ctr">
            <a:spAutoFit/>
          </a:bodyPr>
          <a:lstStyle/>
          <a:p>
            <a:pPr marL="323374" defTabSz="685629" eaLnBrk="1" hangingPunct="1"/>
            <a:r>
              <a:rPr lang="en-US" sz="3299" dirty="0">
                <a:latin typeface="+mj-lt"/>
                <a:ea typeface="+mj-ea"/>
                <a:cs typeface="+mj-cs"/>
              </a:rPr>
              <a:t>Push Messages Approval Process</a:t>
            </a:r>
          </a:p>
        </p:txBody>
      </p:sp>
      <p:sp>
        <p:nvSpPr>
          <p:cNvPr id="5" name="Content Placeholder 2"/>
          <p:cNvSpPr txBox="1">
            <a:spLocks/>
          </p:cNvSpPr>
          <p:nvPr/>
        </p:nvSpPr>
        <p:spPr>
          <a:xfrm>
            <a:off x="1228436" y="1195892"/>
            <a:ext cx="10465488" cy="3200400"/>
          </a:xfrm>
          <a:prstGeom prst="rect">
            <a:avLst/>
          </a:prstGeom>
        </p:spPr>
        <p:txBody>
          <a:bodyPr vert="horz" lIns="91440" tIns="45720" rIns="91440" bIns="45720" rtlCol="0">
            <a:noAutofit/>
          </a:bodyPr>
          <a:lstStyle>
            <a:lvl1pPr marL="174625" indent="-174625" algn="l" defTabSz="914400" rtl="0" eaLnBrk="1" latinLnBrk="0" hangingPunct="1">
              <a:lnSpc>
                <a:spcPct val="90000"/>
              </a:lnSpc>
              <a:spcBef>
                <a:spcPts val="2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515938" indent="-2317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2pPr>
            <a:lvl3pPr marL="739775" indent="-168275"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3pPr>
            <a:lvl4pPr marL="973138" indent="-173038"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4pPr>
            <a:lvl5pPr marL="1196975" indent="-169863" algn="l" defTabSz="914400" rtl="0" eaLnBrk="1" latinLnBrk="0" hangingPunct="1">
              <a:lnSpc>
                <a:spcPct val="90000"/>
              </a:lnSpc>
              <a:spcBef>
                <a:spcPts val="300"/>
              </a:spcBef>
              <a:buClr>
                <a:schemeClr val="accent2"/>
              </a:buClr>
              <a:buFont typeface="Speedee" panose="020B06030305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fontAlgn="auto">
              <a:lnSpc>
                <a:spcPct val="150000"/>
              </a:lnSpc>
              <a:spcAft>
                <a:spcPts val="0"/>
              </a:spcAft>
            </a:pPr>
            <a:r>
              <a:rPr lang="en-US" sz="1800" dirty="0"/>
              <a:t>Push messages are different from other types of content (offers, banner ads, loyalty cards) in that they require email authorization before they are published and sent out.</a:t>
            </a:r>
          </a:p>
          <a:p>
            <a:pPr marL="342900" indent="-342900" algn="just" fontAlgn="auto">
              <a:lnSpc>
                <a:spcPct val="150000"/>
              </a:lnSpc>
              <a:spcAft>
                <a:spcPts val="0"/>
              </a:spcAft>
            </a:pPr>
            <a:r>
              <a:rPr lang="en-US" sz="1800" dirty="0">
                <a:cs typeface="Arial"/>
              </a:rPr>
              <a:t>Each </a:t>
            </a:r>
            <a:r>
              <a:rPr lang="en-US" sz="1800" spc="-5" dirty="0">
                <a:cs typeface="Arial"/>
              </a:rPr>
              <a:t>market </a:t>
            </a:r>
            <a:r>
              <a:rPr lang="en-US" sz="1800" dirty="0">
                <a:cs typeface="Arial"/>
              </a:rPr>
              <a:t>will have a push </a:t>
            </a:r>
            <a:r>
              <a:rPr lang="en-US" sz="1800" spc="-5" dirty="0">
                <a:cs typeface="Arial"/>
              </a:rPr>
              <a:t>message approver for the </a:t>
            </a:r>
            <a:r>
              <a:rPr lang="en-US" sz="1800" dirty="0">
                <a:cs typeface="Arial"/>
              </a:rPr>
              <a:t>publishing </a:t>
            </a:r>
            <a:r>
              <a:rPr lang="en-US" sz="1800" spc="-15" dirty="0">
                <a:cs typeface="Arial"/>
              </a:rPr>
              <a:t>workflow. </a:t>
            </a:r>
            <a:r>
              <a:rPr lang="en-US" sz="1800" spc="-5" dirty="0">
                <a:cs typeface="Arial"/>
              </a:rPr>
              <a:t>It </a:t>
            </a:r>
            <a:r>
              <a:rPr lang="en-US" sz="1800" dirty="0">
                <a:cs typeface="Arial"/>
              </a:rPr>
              <a:t>can be a mail  </a:t>
            </a:r>
            <a:r>
              <a:rPr lang="en-US" sz="1800" spc="-5" dirty="0">
                <a:cs typeface="Arial"/>
              </a:rPr>
              <a:t>group </a:t>
            </a:r>
            <a:r>
              <a:rPr lang="en-US" sz="1800" dirty="0">
                <a:cs typeface="Arial"/>
              </a:rPr>
              <a:t>or a single email </a:t>
            </a:r>
            <a:r>
              <a:rPr lang="en-US" sz="1800" spc="-5" dirty="0">
                <a:cs typeface="Arial"/>
              </a:rPr>
              <a:t>address. </a:t>
            </a:r>
          </a:p>
          <a:p>
            <a:pPr marL="342900" indent="-342900" algn="just" fontAlgn="auto">
              <a:lnSpc>
                <a:spcPct val="150000"/>
              </a:lnSpc>
              <a:spcAft>
                <a:spcPts val="0"/>
              </a:spcAft>
            </a:pPr>
            <a:r>
              <a:rPr lang="en-US" sz="1800" dirty="0"/>
              <a:t>When a campaign manager clicks Get Approval and Activate an email requesting approval is sent to the nominated approver, who can then review the copy and details of the push message and either accept or reject it.</a:t>
            </a:r>
          </a:p>
          <a:p>
            <a:pPr marL="342900" indent="-342900" algn="just" fontAlgn="auto">
              <a:lnSpc>
                <a:spcPct val="150000"/>
              </a:lnSpc>
              <a:spcAft>
                <a:spcPts val="0"/>
              </a:spcAft>
            </a:pPr>
            <a:r>
              <a:rPr lang="en-US" sz="1800" dirty="0">
                <a:cs typeface="Arial"/>
              </a:rPr>
              <a:t>The </a:t>
            </a:r>
            <a:r>
              <a:rPr lang="en-US" sz="1800" spc="-5" dirty="0">
                <a:cs typeface="Arial"/>
              </a:rPr>
              <a:t>message </a:t>
            </a:r>
            <a:r>
              <a:rPr lang="en-US" sz="1800" dirty="0">
                <a:cs typeface="Arial"/>
              </a:rPr>
              <a:t>will go in </a:t>
            </a:r>
            <a:r>
              <a:rPr lang="en-US" sz="1800" spc="-5" dirty="0">
                <a:cs typeface="Arial"/>
              </a:rPr>
              <a:t>batches </a:t>
            </a:r>
            <a:r>
              <a:rPr lang="en-US" sz="1800" dirty="0">
                <a:cs typeface="Arial"/>
              </a:rPr>
              <a:t>at </a:t>
            </a:r>
            <a:r>
              <a:rPr lang="en-US" sz="1800" spc="-5" dirty="0">
                <a:cs typeface="Arial"/>
              </a:rPr>
              <a:t>the </a:t>
            </a:r>
            <a:r>
              <a:rPr lang="en-US" sz="1800" dirty="0">
                <a:cs typeface="Arial"/>
              </a:rPr>
              <a:t>specified </a:t>
            </a:r>
            <a:r>
              <a:rPr lang="en-US" sz="1800" spc="-5" dirty="0">
                <a:cs typeface="Arial"/>
              </a:rPr>
              <a:t>time </a:t>
            </a:r>
            <a:r>
              <a:rPr lang="en-US" sz="1800" dirty="0">
                <a:cs typeface="Arial"/>
              </a:rPr>
              <a:t>only  </a:t>
            </a:r>
            <a:r>
              <a:rPr lang="en-US" sz="1800" spc="-5" dirty="0">
                <a:cs typeface="Arial"/>
              </a:rPr>
              <a:t>after approver </a:t>
            </a:r>
            <a:r>
              <a:rPr lang="en-US" sz="1800" dirty="0">
                <a:cs typeface="Arial"/>
              </a:rPr>
              <a:t>has </a:t>
            </a:r>
            <a:r>
              <a:rPr lang="en-US" sz="1800" spc="-5" dirty="0">
                <a:cs typeface="Arial"/>
              </a:rPr>
              <a:t>approved the</a:t>
            </a:r>
            <a:r>
              <a:rPr lang="en-US" sz="1800" spc="-25" dirty="0">
                <a:cs typeface="Arial"/>
              </a:rPr>
              <a:t> </a:t>
            </a:r>
            <a:r>
              <a:rPr lang="en-US" sz="1800" spc="-5" dirty="0">
                <a:cs typeface="Arial"/>
              </a:rPr>
              <a:t>message</a:t>
            </a:r>
            <a:endParaRPr lang="en-US" sz="1800" dirty="0">
              <a:cs typeface="Arial"/>
            </a:endParaRPr>
          </a:p>
          <a:p>
            <a:pPr marL="342900" indent="-342900" algn="just" fontAlgn="auto">
              <a:lnSpc>
                <a:spcPct val="150000"/>
              </a:lnSpc>
              <a:spcAft>
                <a:spcPts val="0"/>
              </a:spcAft>
            </a:pPr>
            <a:endParaRPr lang="en-US" sz="1800" dirty="0"/>
          </a:p>
        </p:txBody>
      </p:sp>
    </p:spTree>
    <p:extLst>
      <p:ext uri="{BB962C8B-B14F-4D97-AF65-F5344CB8AC3E}">
        <p14:creationId xmlns:p14="http://schemas.microsoft.com/office/powerpoint/2010/main" val="66821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Feedback, questions?</a:t>
            </a:r>
          </a:p>
        </p:txBody>
      </p:sp>
    </p:spTree>
    <p:extLst>
      <p:ext uri="{BB962C8B-B14F-4D97-AF65-F5344CB8AC3E}">
        <p14:creationId xmlns:p14="http://schemas.microsoft.com/office/powerpoint/2010/main" val="250770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sp>
        <p:nvSpPr>
          <p:cNvPr id="7" name="object 4"/>
          <p:cNvSpPr txBox="1">
            <a:spLocks noGrp="1"/>
          </p:cNvSpPr>
          <p:nvPr>
            <p:ph type="ctrTitle" idx="4294967295"/>
          </p:nvPr>
        </p:nvSpPr>
        <p:spPr>
          <a:xfrm>
            <a:off x="959864" y="22621"/>
            <a:ext cx="4701309" cy="562239"/>
          </a:xfrm>
          <a:prstGeom prst="rect">
            <a:avLst/>
          </a:prstGeom>
        </p:spPr>
        <p:txBody>
          <a:bodyPr vert="horz" wrap="square" lIns="0" tIns="194089" rIns="0" bIns="0" rtlCol="0" anchor="ctr">
            <a:spAutoFit/>
          </a:bodyPr>
          <a:lstStyle/>
          <a:p>
            <a:pPr marL="323374"/>
            <a:r>
              <a:rPr sz="2800" b="1" dirty="0">
                <a:latin typeface="Montserrat Semi Bold"/>
              </a:rPr>
              <a:t>GMAL Plexure Features</a:t>
            </a:r>
          </a:p>
        </p:txBody>
      </p:sp>
      <p:grpSp>
        <p:nvGrpSpPr>
          <p:cNvPr id="8" name="Group 7"/>
          <p:cNvGrpSpPr/>
          <p:nvPr/>
        </p:nvGrpSpPr>
        <p:grpSpPr>
          <a:xfrm>
            <a:off x="1879844" y="1881003"/>
            <a:ext cx="7144590" cy="3885893"/>
            <a:chOff x="-25478" y="1972349"/>
            <a:chExt cx="7144590" cy="3885893"/>
          </a:xfrm>
        </p:grpSpPr>
        <p:sp>
          <p:nvSpPr>
            <p:cNvPr id="9" name="object 5"/>
            <p:cNvSpPr/>
            <p:nvPr/>
          </p:nvSpPr>
          <p:spPr>
            <a:xfrm>
              <a:off x="-25478" y="1972349"/>
              <a:ext cx="1917773" cy="3571427"/>
            </a:xfrm>
            <a:prstGeom prst="rect">
              <a:avLst/>
            </a:prstGeom>
            <a:blipFill>
              <a:blip r:embed="rId3" cstate="print"/>
              <a:stretch>
                <a:fillRect/>
              </a:stretch>
            </a:blipFill>
          </p:spPr>
          <p:txBody>
            <a:bodyPr wrap="square" lIns="0" tIns="0" rIns="0" bIns="0" rtlCol="0"/>
            <a:lstStyle/>
            <a:p>
              <a:endParaRPr sz="1350"/>
            </a:p>
          </p:txBody>
        </p:sp>
        <p:sp>
          <p:nvSpPr>
            <p:cNvPr id="10" name="object 6"/>
            <p:cNvSpPr txBox="1"/>
            <p:nvPr/>
          </p:nvSpPr>
          <p:spPr>
            <a:xfrm>
              <a:off x="37812" y="5493076"/>
              <a:ext cx="1791190" cy="276999"/>
            </a:xfrm>
            <a:prstGeom prst="rect">
              <a:avLst/>
            </a:prstGeom>
          </p:spPr>
          <p:txBody>
            <a:bodyPr vert="horz" wrap="square" lIns="0" tIns="0" rIns="0" bIns="0" rtlCol="0">
              <a:spAutoFit/>
            </a:bodyPr>
            <a:lstStyle/>
            <a:p>
              <a:pPr marL="9525"/>
              <a:r>
                <a:rPr b="1" spc="-4" dirty="0">
                  <a:latin typeface="Arial"/>
                  <a:cs typeface="Arial"/>
                </a:rPr>
                <a:t>Advertisements</a:t>
              </a:r>
              <a:endParaRPr dirty="0">
                <a:latin typeface="Arial"/>
                <a:cs typeface="Arial"/>
              </a:endParaRPr>
            </a:p>
          </p:txBody>
        </p:sp>
        <p:sp>
          <p:nvSpPr>
            <p:cNvPr id="11" name="object 7"/>
            <p:cNvSpPr/>
            <p:nvPr/>
          </p:nvSpPr>
          <p:spPr>
            <a:xfrm>
              <a:off x="197535" y="2391739"/>
              <a:ext cx="1471745" cy="2647950"/>
            </a:xfrm>
            <a:prstGeom prst="rect">
              <a:avLst/>
            </a:prstGeom>
            <a:blipFill>
              <a:blip r:embed="rId4" cstate="print"/>
              <a:stretch>
                <a:fillRect/>
              </a:stretch>
            </a:blipFill>
          </p:spPr>
          <p:txBody>
            <a:bodyPr wrap="square" lIns="0" tIns="0" rIns="0" bIns="0" rtlCol="0"/>
            <a:lstStyle/>
            <a:p>
              <a:endParaRPr sz="1350"/>
            </a:p>
          </p:txBody>
        </p:sp>
        <p:sp>
          <p:nvSpPr>
            <p:cNvPr id="12" name="object 8"/>
            <p:cNvSpPr txBox="1"/>
            <p:nvPr/>
          </p:nvSpPr>
          <p:spPr>
            <a:xfrm>
              <a:off x="1957401" y="5503821"/>
              <a:ext cx="1471121" cy="276999"/>
            </a:xfrm>
            <a:prstGeom prst="rect">
              <a:avLst/>
            </a:prstGeom>
          </p:spPr>
          <p:txBody>
            <a:bodyPr vert="horz" wrap="square" lIns="0" tIns="0" rIns="0" bIns="0" rtlCol="0">
              <a:spAutoFit/>
            </a:bodyPr>
            <a:lstStyle/>
            <a:p>
              <a:pPr marL="9525"/>
              <a:r>
                <a:rPr lang="en-US" b="1" spc="-4" dirty="0">
                  <a:latin typeface="Arial"/>
                  <a:cs typeface="Arial"/>
                </a:rPr>
                <a:t>Deals/Offers</a:t>
              </a:r>
              <a:endParaRPr dirty="0">
                <a:latin typeface="Arial"/>
                <a:cs typeface="Arial"/>
              </a:endParaRPr>
            </a:p>
          </p:txBody>
        </p:sp>
        <p:sp>
          <p:nvSpPr>
            <p:cNvPr id="13" name="object 9"/>
            <p:cNvSpPr txBox="1"/>
            <p:nvPr/>
          </p:nvSpPr>
          <p:spPr>
            <a:xfrm>
              <a:off x="3593820" y="5534616"/>
              <a:ext cx="1806151" cy="276999"/>
            </a:xfrm>
            <a:prstGeom prst="rect">
              <a:avLst/>
            </a:prstGeom>
          </p:spPr>
          <p:txBody>
            <a:bodyPr vert="horz" wrap="square" lIns="0" tIns="0" rIns="0" bIns="0" rtlCol="0">
              <a:spAutoFit/>
            </a:bodyPr>
            <a:lstStyle/>
            <a:p>
              <a:pPr marL="9525"/>
              <a:r>
                <a:rPr b="1" spc="-4" dirty="0">
                  <a:latin typeface="Arial"/>
                  <a:cs typeface="Arial"/>
                </a:rPr>
                <a:t>Push</a:t>
              </a:r>
              <a:r>
                <a:rPr b="1" spc="-79" dirty="0">
                  <a:latin typeface="Arial"/>
                  <a:cs typeface="Arial"/>
                </a:rPr>
                <a:t> </a:t>
              </a:r>
              <a:r>
                <a:rPr b="1" spc="-4" dirty="0">
                  <a:latin typeface="Arial"/>
                  <a:cs typeface="Arial"/>
                </a:rPr>
                <a:t>Messages</a:t>
              </a:r>
              <a:endParaRPr dirty="0">
                <a:latin typeface="Arial"/>
                <a:cs typeface="Arial"/>
              </a:endParaRPr>
            </a:p>
          </p:txBody>
        </p:sp>
        <p:sp>
          <p:nvSpPr>
            <p:cNvPr id="14" name="object 10"/>
            <p:cNvSpPr/>
            <p:nvPr/>
          </p:nvSpPr>
          <p:spPr>
            <a:xfrm>
              <a:off x="1747370" y="1972350"/>
              <a:ext cx="1917773" cy="3571427"/>
            </a:xfrm>
            <a:prstGeom prst="rect">
              <a:avLst/>
            </a:prstGeom>
            <a:blipFill>
              <a:blip r:embed="rId3" cstate="print"/>
              <a:stretch>
                <a:fillRect/>
              </a:stretch>
            </a:blipFill>
          </p:spPr>
          <p:txBody>
            <a:bodyPr wrap="square" lIns="0" tIns="0" rIns="0" bIns="0" rtlCol="0"/>
            <a:lstStyle/>
            <a:p>
              <a:endParaRPr sz="1350"/>
            </a:p>
          </p:txBody>
        </p:sp>
        <p:sp>
          <p:nvSpPr>
            <p:cNvPr id="15" name="object 11"/>
            <p:cNvSpPr/>
            <p:nvPr/>
          </p:nvSpPr>
          <p:spPr>
            <a:xfrm>
              <a:off x="3456203" y="1991729"/>
              <a:ext cx="1917773" cy="3524940"/>
            </a:xfrm>
            <a:prstGeom prst="rect">
              <a:avLst/>
            </a:prstGeom>
            <a:blipFill>
              <a:blip r:embed="rId3" cstate="print"/>
              <a:stretch>
                <a:fillRect/>
              </a:stretch>
            </a:blipFill>
          </p:spPr>
          <p:txBody>
            <a:bodyPr wrap="square" lIns="0" tIns="0" rIns="0" bIns="0" rtlCol="0"/>
            <a:lstStyle/>
            <a:p>
              <a:endParaRPr sz="1350"/>
            </a:p>
          </p:txBody>
        </p:sp>
        <p:sp>
          <p:nvSpPr>
            <p:cNvPr id="17" name="object 13"/>
            <p:cNvSpPr txBox="1"/>
            <p:nvPr/>
          </p:nvSpPr>
          <p:spPr>
            <a:xfrm>
              <a:off x="5373976" y="5513917"/>
              <a:ext cx="1628612" cy="344325"/>
            </a:xfrm>
            <a:prstGeom prst="rect">
              <a:avLst/>
            </a:prstGeom>
          </p:spPr>
          <p:txBody>
            <a:bodyPr vert="horz" wrap="square" lIns="0" tIns="0" rIns="0" bIns="0" rtlCol="0">
              <a:spAutoFit/>
            </a:bodyPr>
            <a:lstStyle/>
            <a:p>
              <a:pPr algn="ctr">
                <a:lnSpc>
                  <a:spcPts val="1256"/>
                </a:lnSpc>
              </a:pPr>
              <a:r>
                <a:rPr lang="en-US" b="1" dirty="0">
                  <a:latin typeface="Arial"/>
                  <a:cs typeface="Arial"/>
                </a:rPr>
                <a:t>User</a:t>
              </a:r>
              <a:r>
                <a:rPr b="1" spc="-53" dirty="0">
                  <a:latin typeface="Arial"/>
                  <a:cs typeface="Arial"/>
                </a:rPr>
                <a:t> </a:t>
              </a:r>
              <a:r>
                <a:rPr b="1" spc="-4" dirty="0">
                  <a:latin typeface="Arial"/>
                  <a:cs typeface="Arial"/>
                </a:rPr>
                <a:t>Management</a:t>
              </a:r>
              <a:endParaRPr dirty="0">
                <a:latin typeface="Arial"/>
                <a:cs typeface="Arial"/>
              </a:endParaRPr>
            </a:p>
          </p:txBody>
        </p:sp>
        <p:sp>
          <p:nvSpPr>
            <p:cNvPr id="18" name="object 14"/>
            <p:cNvSpPr/>
            <p:nvPr/>
          </p:nvSpPr>
          <p:spPr>
            <a:xfrm>
              <a:off x="5201339" y="1991729"/>
              <a:ext cx="1917773" cy="3571427"/>
            </a:xfrm>
            <a:prstGeom prst="rect">
              <a:avLst/>
            </a:prstGeom>
            <a:blipFill>
              <a:blip r:embed="rId3" cstate="print"/>
              <a:stretch>
                <a:fillRect/>
              </a:stretch>
            </a:blipFill>
          </p:spPr>
          <p:txBody>
            <a:bodyPr wrap="square" lIns="0" tIns="0" rIns="0" bIns="0" rtlCol="0"/>
            <a:lstStyle/>
            <a:p>
              <a:endParaRPr sz="1350"/>
            </a:p>
          </p:txBody>
        </p:sp>
        <p:sp>
          <p:nvSpPr>
            <p:cNvPr id="19" name="object 15"/>
            <p:cNvSpPr/>
            <p:nvPr/>
          </p:nvSpPr>
          <p:spPr>
            <a:xfrm>
              <a:off x="5437991" y="2434088"/>
              <a:ext cx="1465649" cy="2605601"/>
            </a:xfrm>
            <a:prstGeom prst="rect">
              <a:avLst/>
            </a:prstGeom>
            <a:blipFill>
              <a:blip r:embed="rId5" cstate="print"/>
              <a:stretch>
                <a:fillRect/>
              </a:stretch>
            </a:blipFill>
          </p:spPr>
          <p:txBody>
            <a:bodyPr wrap="square" lIns="0" tIns="0" rIns="0" bIns="0" rtlCol="0"/>
            <a:lstStyle/>
            <a:p>
              <a:endParaRPr sz="1350"/>
            </a:p>
          </p:txBody>
        </p:sp>
        <p:sp>
          <p:nvSpPr>
            <p:cNvPr id="20" name="object 16"/>
            <p:cNvSpPr/>
            <p:nvPr/>
          </p:nvSpPr>
          <p:spPr>
            <a:xfrm>
              <a:off x="3677191" y="2404088"/>
              <a:ext cx="1440361" cy="2647950"/>
            </a:xfrm>
            <a:prstGeom prst="rect">
              <a:avLst/>
            </a:prstGeom>
            <a:blipFill>
              <a:blip r:embed="rId6" cstate="print"/>
              <a:stretch>
                <a:fillRect/>
              </a:stretch>
            </a:blipFill>
          </p:spPr>
          <p:txBody>
            <a:bodyPr wrap="square" lIns="0" tIns="0" rIns="0" bIns="0" rtlCol="0"/>
            <a:lstStyle/>
            <a:p>
              <a:endParaRPr sz="1350"/>
            </a:p>
          </p:txBody>
        </p:sp>
      </p:grpSp>
      <p:sp>
        <p:nvSpPr>
          <p:cNvPr id="34" name="Oval Callout 33"/>
          <p:cNvSpPr/>
          <p:nvPr/>
        </p:nvSpPr>
        <p:spPr>
          <a:xfrm>
            <a:off x="5452139" y="765652"/>
            <a:ext cx="3441549" cy="934559"/>
          </a:xfrm>
          <a:prstGeom prst="wedgeEllipseCallo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Content managed via Plexure Platform</a:t>
            </a:r>
          </a:p>
        </p:txBody>
      </p:sp>
      <p:sp>
        <p:nvSpPr>
          <p:cNvPr id="35" name="object 14"/>
          <p:cNvSpPr/>
          <p:nvPr/>
        </p:nvSpPr>
        <p:spPr>
          <a:xfrm>
            <a:off x="8841489" y="1882452"/>
            <a:ext cx="1917773" cy="3571427"/>
          </a:xfrm>
          <a:prstGeom prst="rect">
            <a:avLst/>
          </a:prstGeom>
          <a:blipFill>
            <a:blip r:embed="rId3" cstate="print"/>
            <a:stretch>
              <a:fillRect/>
            </a:stretch>
          </a:blipFill>
        </p:spPr>
        <p:txBody>
          <a:bodyPr wrap="square" lIns="0" tIns="0" rIns="0" bIns="0" rtlCol="0"/>
          <a:lstStyle/>
          <a:p>
            <a:endParaRPr sz="1350"/>
          </a:p>
        </p:txBody>
      </p:sp>
      <p:sp>
        <p:nvSpPr>
          <p:cNvPr id="36" name="Rectangle 35"/>
          <p:cNvSpPr/>
          <p:nvPr/>
        </p:nvSpPr>
        <p:spPr>
          <a:xfrm>
            <a:off x="9080547" y="5416001"/>
            <a:ext cx="1582484" cy="269946"/>
          </a:xfrm>
          <a:prstGeom prst="rect">
            <a:avLst/>
          </a:prstGeom>
        </p:spPr>
        <p:txBody>
          <a:bodyPr wrap="none">
            <a:spAutoFit/>
          </a:bodyPr>
          <a:lstStyle/>
          <a:p>
            <a:pPr algn="ctr">
              <a:lnSpc>
                <a:spcPts val="1256"/>
              </a:lnSpc>
            </a:pPr>
            <a:r>
              <a:rPr lang="en-US" b="1" dirty="0">
                <a:latin typeface="Arial"/>
                <a:cs typeface="Arial"/>
              </a:rPr>
              <a:t>Loyalty Card</a:t>
            </a:r>
            <a:endParaRPr lang="en-US" dirty="0">
              <a:latin typeface="Arial"/>
              <a:cs typeface="Arial"/>
            </a:endParaRPr>
          </a:p>
        </p:txBody>
      </p:sp>
      <p:pic>
        <p:nvPicPr>
          <p:cNvPr id="37" name="Picture 36"/>
          <p:cNvPicPr>
            <a:picLocks noChangeAspect="1"/>
          </p:cNvPicPr>
          <p:nvPr/>
        </p:nvPicPr>
        <p:blipFill>
          <a:blip r:embed="rId7"/>
          <a:stretch>
            <a:fillRect/>
          </a:stretch>
        </p:blipFill>
        <p:spPr>
          <a:xfrm>
            <a:off x="9056961" y="2306567"/>
            <a:ext cx="1485621" cy="2660299"/>
          </a:xfrm>
          <a:prstGeom prst="rect">
            <a:avLst/>
          </a:prstGeom>
        </p:spPr>
      </p:pic>
      <p:pic>
        <p:nvPicPr>
          <p:cNvPr id="38" name="Picture 37">
            <a:extLst>
              <a:ext uri="{FF2B5EF4-FFF2-40B4-BE49-F238E27FC236}">
                <a16:creationId xmlns:a16="http://schemas.microsoft.com/office/drawing/2014/main" id="{24E08E28-97E2-4F02-8470-10688D250306}"/>
              </a:ext>
            </a:extLst>
          </p:cNvPr>
          <p:cNvPicPr>
            <a:picLocks noChangeAspect="1"/>
          </p:cNvPicPr>
          <p:nvPr/>
        </p:nvPicPr>
        <p:blipFill>
          <a:blip r:embed="rId8"/>
          <a:stretch>
            <a:fillRect/>
          </a:stretch>
        </p:blipFill>
        <p:spPr>
          <a:xfrm>
            <a:off x="3847101" y="2300392"/>
            <a:ext cx="1528953" cy="2710393"/>
          </a:xfrm>
          <a:prstGeom prst="rect">
            <a:avLst/>
          </a:prstGeom>
        </p:spPr>
      </p:pic>
    </p:spTree>
    <p:extLst>
      <p:ext uri="{BB962C8B-B14F-4D97-AF65-F5344CB8AC3E}">
        <p14:creationId xmlns:p14="http://schemas.microsoft.com/office/powerpoint/2010/main" val="374815893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67408" y="2493818"/>
            <a:ext cx="184731" cy="369332"/>
          </a:xfrm>
          <a:prstGeom prst="rect">
            <a:avLst/>
          </a:prstGeom>
          <a:noFill/>
        </p:spPr>
        <p:txBody>
          <a:bodyPr wrap="none" rtlCol="0">
            <a:spAutoFit/>
          </a:bodyPr>
          <a:lstStyle/>
          <a:p>
            <a:endParaRPr lang="en-US" dirty="0"/>
          </a:p>
        </p:txBody>
      </p:sp>
      <p:sp>
        <p:nvSpPr>
          <p:cNvPr id="16" name="TextBox 15"/>
          <p:cNvSpPr txBox="1"/>
          <p:nvPr/>
        </p:nvSpPr>
        <p:spPr>
          <a:xfrm>
            <a:off x="3125788" y="863600"/>
            <a:ext cx="184731" cy="369332"/>
          </a:xfrm>
          <a:prstGeom prst="rect">
            <a:avLst/>
          </a:prstGeom>
          <a:noFill/>
        </p:spPr>
        <p:txBody>
          <a:bodyPr wrap="none" rtlCol="0">
            <a:spAutoFit/>
          </a:bodyPr>
          <a:lstStyle/>
          <a:p>
            <a:endParaRPr lang="en-US" dirty="0"/>
          </a:p>
        </p:txBody>
      </p:sp>
      <p:sp>
        <p:nvSpPr>
          <p:cNvPr id="7" name="TextBox 6">
            <a:extLst>
              <a:ext uri="{FF2B5EF4-FFF2-40B4-BE49-F238E27FC236}">
                <a16:creationId xmlns:a16="http://schemas.microsoft.com/office/drawing/2014/main" id="{31620B8E-05FB-4B3E-959E-5ADBC59F7A3D}"/>
              </a:ext>
            </a:extLst>
          </p:cNvPr>
          <p:cNvSpPr txBox="1"/>
          <p:nvPr/>
        </p:nvSpPr>
        <p:spPr>
          <a:xfrm>
            <a:off x="905742" y="137243"/>
            <a:ext cx="3736344" cy="480131"/>
          </a:xfrm>
          <a:prstGeom prst="rect">
            <a:avLst/>
          </a:prstGeom>
          <a:noFill/>
        </p:spPr>
        <p:txBody>
          <a:bodyPr wrap="none" rtlCol="0">
            <a:spAutoFit/>
          </a:bodyPr>
          <a:lstStyle/>
          <a:p>
            <a:pPr marL="323374" defTabSz="685388" eaLnBrk="0" fontAlgn="base" hangingPunct="0">
              <a:lnSpc>
                <a:spcPct val="90000"/>
              </a:lnSpc>
              <a:spcBef>
                <a:spcPct val="0"/>
              </a:spcBef>
              <a:spcAft>
                <a:spcPct val="0"/>
              </a:spcAft>
            </a:pPr>
            <a:r>
              <a:rPr lang="en-IN" sz="2800" b="1" dirty="0">
                <a:latin typeface="Montserrat Semi Bold"/>
                <a:ea typeface="ＭＳ Ｐゴシック" charset="-128"/>
              </a:rPr>
              <a:t>GMALite and Plexure </a:t>
            </a:r>
          </a:p>
        </p:txBody>
      </p:sp>
      <p:pic>
        <p:nvPicPr>
          <p:cNvPr id="8" name="Picture 7">
            <a:extLst>
              <a:ext uri="{FF2B5EF4-FFF2-40B4-BE49-F238E27FC236}">
                <a16:creationId xmlns:a16="http://schemas.microsoft.com/office/drawing/2014/main" id="{C0E192A6-F0E4-49F2-AB59-FA6CDF26A54C}"/>
              </a:ext>
            </a:extLst>
          </p:cNvPr>
          <p:cNvPicPr>
            <a:picLocks noChangeAspect="1"/>
          </p:cNvPicPr>
          <p:nvPr/>
        </p:nvPicPr>
        <p:blipFill>
          <a:blip r:embed="rId3"/>
          <a:stretch>
            <a:fillRect/>
          </a:stretch>
        </p:blipFill>
        <p:spPr>
          <a:xfrm>
            <a:off x="2337377" y="1048266"/>
            <a:ext cx="8610600" cy="5426605"/>
          </a:xfrm>
          <a:prstGeom prst="rect">
            <a:avLst/>
          </a:prstGeom>
        </p:spPr>
      </p:pic>
    </p:spTree>
    <p:extLst>
      <p:ext uri="{BB962C8B-B14F-4D97-AF65-F5344CB8AC3E}">
        <p14:creationId xmlns:p14="http://schemas.microsoft.com/office/powerpoint/2010/main" val="151442669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50826" y="1943540"/>
            <a:ext cx="184731" cy="369332"/>
          </a:xfrm>
          <a:prstGeom prst="rect">
            <a:avLst/>
          </a:prstGeom>
          <a:noFill/>
        </p:spPr>
        <p:txBody>
          <a:bodyPr wrap="none" rtlCol="0">
            <a:spAutoFit/>
          </a:bodyPr>
          <a:lstStyle/>
          <a:p>
            <a:endParaRPr lang="en-US" dirty="0"/>
          </a:p>
        </p:txBody>
      </p:sp>
      <p:sp>
        <p:nvSpPr>
          <p:cNvPr id="16" name="TextBox 15"/>
          <p:cNvSpPr txBox="1"/>
          <p:nvPr/>
        </p:nvSpPr>
        <p:spPr>
          <a:xfrm>
            <a:off x="3109206" y="313322"/>
            <a:ext cx="184731" cy="369332"/>
          </a:xfrm>
          <a:prstGeom prst="rect">
            <a:avLst/>
          </a:prstGeom>
          <a:noFill/>
        </p:spPr>
        <p:txBody>
          <a:bodyPr wrap="none" rtlCol="0">
            <a:spAutoFit/>
          </a:bodyPr>
          <a:lstStyle/>
          <a:p>
            <a:endParaRPr lang="en-US" dirty="0"/>
          </a:p>
        </p:txBody>
      </p:sp>
      <p:sp>
        <p:nvSpPr>
          <p:cNvPr id="8" name="object 2">
            <a:extLst>
              <a:ext uri="{FF2B5EF4-FFF2-40B4-BE49-F238E27FC236}">
                <a16:creationId xmlns:a16="http://schemas.microsoft.com/office/drawing/2014/main" id="{C263E671-3D06-4D02-8EAA-D0E360104CD2}"/>
              </a:ext>
            </a:extLst>
          </p:cNvPr>
          <p:cNvSpPr txBox="1">
            <a:spLocks/>
          </p:cNvSpPr>
          <p:nvPr/>
        </p:nvSpPr>
        <p:spPr>
          <a:xfrm>
            <a:off x="1017343" y="-98858"/>
            <a:ext cx="7184262" cy="652904"/>
          </a:xfrm>
          <a:prstGeom prst="rect">
            <a:avLst/>
          </a:prstGeom>
        </p:spPr>
        <p:txBody>
          <a:bodyPr vert="horz" wrap="square" lIns="0" tIns="194089" rIns="0" bIns="0" rtlCol="0" anchor="ctr">
            <a:spAutoFit/>
          </a:bodyPr>
          <a:lstStyle>
            <a:defPPr>
              <a:defRPr lang="en-US"/>
            </a:defPPr>
            <a:lvl1pPr marL="323374" defTabSz="685629">
              <a:lnSpc>
                <a:spcPct val="90000"/>
              </a:lnSpc>
              <a:spcBef>
                <a:spcPct val="0"/>
              </a:spcBef>
              <a:buNone/>
              <a:defRPr sz="3299" b="1">
                <a:latin typeface="+mj-lt"/>
                <a:ea typeface="+mj-ea"/>
                <a:cs typeface="+mj-cs"/>
              </a:defRPr>
            </a:lvl1pPr>
          </a:lstStyle>
          <a:p>
            <a:r>
              <a:rPr lang="en-US" dirty="0" err="1"/>
              <a:t>Plexure</a:t>
            </a:r>
            <a:r>
              <a:rPr lang="en-US" dirty="0"/>
              <a:t> Platform Hierarchy</a:t>
            </a:r>
          </a:p>
        </p:txBody>
      </p:sp>
      <p:sp>
        <p:nvSpPr>
          <p:cNvPr id="27" name="object 4"/>
          <p:cNvSpPr/>
          <p:nvPr/>
        </p:nvSpPr>
        <p:spPr>
          <a:xfrm>
            <a:off x="2461732" y="851587"/>
            <a:ext cx="7851315" cy="4673192"/>
          </a:xfrm>
          <a:custGeom>
            <a:avLst/>
            <a:gdLst/>
            <a:ahLst/>
            <a:cxnLst/>
            <a:rect l="l" t="t" r="r" b="b"/>
            <a:pathLst>
              <a:path w="10351770" h="4791710">
                <a:moveTo>
                  <a:pt x="10351404" y="0"/>
                </a:moveTo>
                <a:lnTo>
                  <a:pt x="10351404" y="4791435"/>
                </a:lnTo>
                <a:lnTo>
                  <a:pt x="0" y="4791435"/>
                </a:lnTo>
                <a:lnTo>
                  <a:pt x="0" y="0"/>
                </a:lnTo>
                <a:lnTo>
                  <a:pt x="10351404" y="0"/>
                </a:lnTo>
                <a:close/>
              </a:path>
            </a:pathLst>
          </a:custGeom>
          <a:solidFill>
            <a:srgbClr val="D9D9D9">
              <a:alpha val="54899"/>
            </a:srgbClr>
          </a:solidFill>
        </p:spPr>
        <p:txBody>
          <a:bodyPr wrap="square" lIns="0" tIns="0" rIns="0" bIns="0" rtlCol="0"/>
          <a:lstStyle/>
          <a:p>
            <a:endParaRPr sz="1350"/>
          </a:p>
        </p:txBody>
      </p:sp>
      <p:sp>
        <p:nvSpPr>
          <p:cNvPr id="28" name="object 6"/>
          <p:cNvSpPr/>
          <p:nvPr/>
        </p:nvSpPr>
        <p:spPr>
          <a:xfrm>
            <a:off x="2798930" y="2264340"/>
            <a:ext cx="7283453" cy="485775"/>
          </a:xfrm>
          <a:prstGeom prst="rect">
            <a:avLst/>
          </a:prstGeom>
          <a:blipFill>
            <a:blip r:embed="rId3" cstate="print"/>
            <a:stretch>
              <a:fillRect/>
            </a:stretch>
          </a:blipFill>
        </p:spPr>
        <p:txBody>
          <a:bodyPr wrap="square" lIns="0" tIns="0" rIns="0" bIns="0" rtlCol="0"/>
          <a:lstStyle/>
          <a:p>
            <a:endParaRPr sz="1350"/>
          </a:p>
        </p:txBody>
      </p:sp>
      <p:sp>
        <p:nvSpPr>
          <p:cNvPr id="29" name="object 7"/>
          <p:cNvSpPr/>
          <p:nvPr/>
        </p:nvSpPr>
        <p:spPr>
          <a:xfrm>
            <a:off x="5288276" y="1550779"/>
            <a:ext cx="2092328" cy="533400"/>
          </a:xfrm>
          <a:prstGeom prst="rect">
            <a:avLst/>
          </a:prstGeom>
          <a:blipFill>
            <a:blip r:embed="rId4" cstate="print"/>
            <a:stretch>
              <a:fillRect/>
            </a:stretch>
          </a:blipFill>
        </p:spPr>
        <p:txBody>
          <a:bodyPr wrap="square" lIns="0" tIns="0" rIns="0" bIns="0" rtlCol="0"/>
          <a:lstStyle/>
          <a:p>
            <a:endParaRPr sz="1350"/>
          </a:p>
        </p:txBody>
      </p:sp>
      <p:sp>
        <p:nvSpPr>
          <p:cNvPr id="31" name="object 8"/>
          <p:cNvSpPr/>
          <p:nvPr/>
        </p:nvSpPr>
        <p:spPr>
          <a:xfrm>
            <a:off x="2814592" y="1541223"/>
            <a:ext cx="7211854" cy="415766"/>
          </a:xfrm>
          <a:custGeom>
            <a:avLst/>
            <a:gdLst/>
            <a:ahLst/>
            <a:cxnLst/>
            <a:rect l="l" t="t" r="r" b="b"/>
            <a:pathLst>
              <a:path w="9615805" h="554355">
                <a:moveTo>
                  <a:pt x="9559861" y="0"/>
                </a:moveTo>
                <a:lnTo>
                  <a:pt x="55410" y="0"/>
                </a:lnTo>
                <a:lnTo>
                  <a:pt x="33839" y="4353"/>
                </a:lnTo>
                <a:lnTo>
                  <a:pt x="16227" y="16227"/>
                </a:lnTo>
                <a:lnTo>
                  <a:pt x="4353" y="33839"/>
                </a:lnTo>
                <a:lnTo>
                  <a:pt x="0" y="55410"/>
                </a:lnTo>
                <a:lnTo>
                  <a:pt x="2" y="498703"/>
                </a:lnTo>
                <a:lnTo>
                  <a:pt x="4360" y="520273"/>
                </a:lnTo>
                <a:lnTo>
                  <a:pt x="16236" y="537886"/>
                </a:lnTo>
                <a:lnTo>
                  <a:pt x="33849" y="549759"/>
                </a:lnTo>
                <a:lnTo>
                  <a:pt x="55410" y="554113"/>
                </a:lnTo>
                <a:lnTo>
                  <a:pt x="9559861" y="554113"/>
                </a:lnTo>
                <a:lnTo>
                  <a:pt x="9599048" y="537879"/>
                </a:lnTo>
                <a:lnTo>
                  <a:pt x="9615271" y="498703"/>
                </a:lnTo>
                <a:lnTo>
                  <a:pt x="9615284" y="55410"/>
                </a:lnTo>
                <a:lnTo>
                  <a:pt x="9610928" y="33839"/>
                </a:lnTo>
                <a:lnTo>
                  <a:pt x="9599050" y="16227"/>
                </a:lnTo>
                <a:lnTo>
                  <a:pt x="9581433" y="4353"/>
                </a:lnTo>
                <a:lnTo>
                  <a:pt x="9559861" y="0"/>
                </a:lnTo>
                <a:close/>
              </a:path>
            </a:pathLst>
          </a:custGeom>
          <a:solidFill>
            <a:srgbClr val="666666"/>
          </a:solidFill>
        </p:spPr>
        <p:txBody>
          <a:bodyPr wrap="square" lIns="0" tIns="0" rIns="0" bIns="0" rtlCol="0"/>
          <a:lstStyle/>
          <a:p>
            <a:endParaRPr sz="1350" dirty="0"/>
          </a:p>
        </p:txBody>
      </p:sp>
      <p:sp>
        <p:nvSpPr>
          <p:cNvPr id="32" name="object 9"/>
          <p:cNvSpPr/>
          <p:nvPr/>
        </p:nvSpPr>
        <p:spPr>
          <a:xfrm>
            <a:off x="2798930" y="3013643"/>
            <a:ext cx="7283453" cy="485775"/>
          </a:xfrm>
          <a:prstGeom prst="rect">
            <a:avLst/>
          </a:prstGeom>
          <a:blipFill>
            <a:blip r:embed="rId5" cstate="print"/>
            <a:stretch>
              <a:fillRect/>
            </a:stretch>
          </a:blipFill>
        </p:spPr>
        <p:txBody>
          <a:bodyPr wrap="square" lIns="0" tIns="0" rIns="0" bIns="0" rtlCol="0"/>
          <a:lstStyle/>
          <a:p>
            <a:endParaRPr sz="1350"/>
          </a:p>
        </p:txBody>
      </p:sp>
      <p:sp>
        <p:nvSpPr>
          <p:cNvPr id="33" name="object 10"/>
          <p:cNvSpPr/>
          <p:nvPr/>
        </p:nvSpPr>
        <p:spPr>
          <a:xfrm>
            <a:off x="4961107" y="3007293"/>
            <a:ext cx="2940053" cy="530225"/>
          </a:xfrm>
          <a:prstGeom prst="rect">
            <a:avLst/>
          </a:prstGeom>
          <a:blipFill>
            <a:blip r:embed="rId6" cstate="print"/>
            <a:stretch>
              <a:fillRect/>
            </a:stretch>
          </a:blipFill>
        </p:spPr>
        <p:txBody>
          <a:bodyPr wrap="square" lIns="0" tIns="0" rIns="0" bIns="0" rtlCol="0"/>
          <a:lstStyle/>
          <a:p>
            <a:endParaRPr sz="1350"/>
          </a:p>
        </p:txBody>
      </p:sp>
      <p:sp>
        <p:nvSpPr>
          <p:cNvPr id="34" name="object 11"/>
          <p:cNvSpPr/>
          <p:nvPr/>
        </p:nvSpPr>
        <p:spPr>
          <a:xfrm>
            <a:off x="2835366" y="3030540"/>
            <a:ext cx="7211854" cy="415766"/>
          </a:xfrm>
          <a:custGeom>
            <a:avLst/>
            <a:gdLst/>
            <a:ahLst/>
            <a:cxnLst/>
            <a:rect l="l" t="t" r="r" b="b"/>
            <a:pathLst>
              <a:path w="9615805" h="554354">
                <a:moveTo>
                  <a:pt x="9559861" y="0"/>
                </a:moveTo>
                <a:lnTo>
                  <a:pt x="55410" y="0"/>
                </a:lnTo>
                <a:lnTo>
                  <a:pt x="33839" y="4355"/>
                </a:lnTo>
                <a:lnTo>
                  <a:pt x="16227" y="16233"/>
                </a:lnTo>
                <a:lnTo>
                  <a:pt x="4353" y="33850"/>
                </a:lnTo>
                <a:lnTo>
                  <a:pt x="0" y="55422"/>
                </a:lnTo>
                <a:lnTo>
                  <a:pt x="2" y="498716"/>
                </a:lnTo>
                <a:lnTo>
                  <a:pt x="16246" y="537898"/>
                </a:lnTo>
                <a:lnTo>
                  <a:pt x="55410" y="554113"/>
                </a:lnTo>
                <a:lnTo>
                  <a:pt x="9559848" y="554126"/>
                </a:lnTo>
                <a:lnTo>
                  <a:pt x="9581439" y="549759"/>
                </a:lnTo>
                <a:lnTo>
                  <a:pt x="9599046" y="537886"/>
                </a:lnTo>
                <a:lnTo>
                  <a:pt x="9610918" y="520273"/>
                </a:lnTo>
                <a:lnTo>
                  <a:pt x="9615271" y="498716"/>
                </a:lnTo>
                <a:lnTo>
                  <a:pt x="9615284" y="55422"/>
                </a:lnTo>
                <a:lnTo>
                  <a:pt x="9610928" y="33850"/>
                </a:lnTo>
                <a:lnTo>
                  <a:pt x="9599050" y="16233"/>
                </a:lnTo>
                <a:lnTo>
                  <a:pt x="9581433" y="4355"/>
                </a:lnTo>
                <a:lnTo>
                  <a:pt x="9559861" y="0"/>
                </a:lnTo>
                <a:close/>
              </a:path>
            </a:pathLst>
          </a:custGeom>
          <a:solidFill>
            <a:srgbClr val="A3A3A3"/>
          </a:solidFill>
        </p:spPr>
        <p:txBody>
          <a:bodyPr wrap="square" lIns="0" tIns="0" rIns="0" bIns="0" rtlCol="0"/>
          <a:lstStyle/>
          <a:p>
            <a:endParaRPr sz="1350"/>
          </a:p>
        </p:txBody>
      </p:sp>
      <p:sp>
        <p:nvSpPr>
          <p:cNvPr id="35" name="object 12"/>
          <p:cNvSpPr/>
          <p:nvPr/>
        </p:nvSpPr>
        <p:spPr>
          <a:xfrm>
            <a:off x="2798930" y="3766118"/>
            <a:ext cx="7283453" cy="485775"/>
          </a:xfrm>
          <a:prstGeom prst="rect">
            <a:avLst/>
          </a:prstGeom>
          <a:blipFill>
            <a:blip r:embed="rId7" cstate="print"/>
            <a:stretch>
              <a:fillRect/>
            </a:stretch>
          </a:blipFill>
        </p:spPr>
        <p:txBody>
          <a:bodyPr wrap="square" lIns="0" tIns="0" rIns="0" bIns="0" rtlCol="0"/>
          <a:lstStyle/>
          <a:p>
            <a:endParaRPr sz="1350"/>
          </a:p>
        </p:txBody>
      </p:sp>
      <p:sp>
        <p:nvSpPr>
          <p:cNvPr id="36" name="object 13"/>
          <p:cNvSpPr/>
          <p:nvPr/>
        </p:nvSpPr>
        <p:spPr>
          <a:xfrm>
            <a:off x="4468980" y="3759768"/>
            <a:ext cx="3927472" cy="530225"/>
          </a:xfrm>
          <a:prstGeom prst="rect">
            <a:avLst/>
          </a:prstGeom>
          <a:blipFill>
            <a:blip r:embed="rId8" cstate="print"/>
            <a:stretch>
              <a:fillRect/>
            </a:stretch>
          </a:blipFill>
        </p:spPr>
        <p:txBody>
          <a:bodyPr wrap="square" lIns="0" tIns="0" rIns="0" bIns="0" rtlCol="0"/>
          <a:lstStyle/>
          <a:p>
            <a:endParaRPr sz="1350"/>
          </a:p>
        </p:txBody>
      </p:sp>
      <p:sp>
        <p:nvSpPr>
          <p:cNvPr id="37" name="object 14"/>
          <p:cNvSpPr/>
          <p:nvPr/>
        </p:nvSpPr>
        <p:spPr>
          <a:xfrm>
            <a:off x="2835366" y="3782759"/>
            <a:ext cx="7211854" cy="415766"/>
          </a:xfrm>
          <a:custGeom>
            <a:avLst/>
            <a:gdLst/>
            <a:ahLst/>
            <a:cxnLst/>
            <a:rect l="l" t="t" r="r" b="b"/>
            <a:pathLst>
              <a:path w="9615805" h="554354">
                <a:moveTo>
                  <a:pt x="9559861" y="0"/>
                </a:moveTo>
                <a:lnTo>
                  <a:pt x="55410" y="0"/>
                </a:lnTo>
                <a:lnTo>
                  <a:pt x="33839" y="4353"/>
                </a:lnTo>
                <a:lnTo>
                  <a:pt x="16227" y="16227"/>
                </a:lnTo>
                <a:lnTo>
                  <a:pt x="4353" y="33839"/>
                </a:lnTo>
                <a:lnTo>
                  <a:pt x="0" y="55410"/>
                </a:lnTo>
                <a:lnTo>
                  <a:pt x="2" y="498703"/>
                </a:lnTo>
                <a:lnTo>
                  <a:pt x="16246" y="537892"/>
                </a:lnTo>
                <a:lnTo>
                  <a:pt x="55410" y="554113"/>
                </a:lnTo>
                <a:lnTo>
                  <a:pt x="9559848" y="554126"/>
                </a:lnTo>
                <a:lnTo>
                  <a:pt x="9581439" y="549757"/>
                </a:lnTo>
                <a:lnTo>
                  <a:pt x="9599046" y="537879"/>
                </a:lnTo>
                <a:lnTo>
                  <a:pt x="9610918" y="520263"/>
                </a:lnTo>
                <a:lnTo>
                  <a:pt x="9615271" y="498703"/>
                </a:lnTo>
                <a:lnTo>
                  <a:pt x="9615284" y="55410"/>
                </a:lnTo>
                <a:lnTo>
                  <a:pt x="9610928" y="33839"/>
                </a:lnTo>
                <a:lnTo>
                  <a:pt x="9599050" y="16227"/>
                </a:lnTo>
                <a:lnTo>
                  <a:pt x="9581433" y="4353"/>
                </a:lnTo>
                <a:lnTo>
                  <a:pt x="9559861" y="0"/>
                </a:lnTo>
                <a:close/>
              </a:path>
            </a:pathLst>
          </a:custGeom>
          <a:solidFill>
            <a:srgbClr val="C2C2C2"/>
          </a:solidFill>
        </p:spPr>
        <p:txBody>
          <a:bodyPr wrap="square" lIns="0" tIns="0" rIns="0" bIns="0" rtlCol="0"/>
          <a:lstStyle/>
          <a:p>
            <a:endParaRPr sz="1350"/>
          </a:p>
        </p:txBody>
      </p:sp>
      <p:sp>
        <p:nvSpPr>
          <p:cNvPr id="38" name="object 15"/>
          <p:cNvSpPr txBox="1"/>
          <p:nvPr/>
        </p:nvSpPr>
        <p:spPr>
          <a:xfrm>
            <a:off x="4626942" y="1610791"/>
            <a:ext cx="3614261" cy="1821717"/>
          </a:xfrm>
          <a:prstGeom prst="rect">
            <a:avLst/>
          </a:prstGeom>
        </p:spPr>
        <p:txBody>
          <a:bodyPr vert="horz" wrap="square" lIns="0" tIns="0" rIns="0" bIns="0" rtlCol="0">
            <a:spAutoFit/>
          </a:bodyPr>
          <a:lstStyle/>
          <a:p>
            <a:pPr algn="ctr">
              <a:lnSpc>
                <a:spcPct val="100000"/>
              </a:lnSpc>
            </a:pPr>
            <a:r>
              <a:rPr spc="-4" dirty="0">
                <a:solidFill>
                  <a:srgbClr val="FFFFFF"/>
                </a:solidFill>
                <a:latin typeface="Arial"/>
                <a:cs typeface="Arial"/>
              </a:rPr>
              <a:t>Owner </a:t>
            </a:r>
            <a:r>
              <a:rPr dirty="0">
                <a:solidFill>
                  <a:srgbClr val="FFFFFF"/>
                </a:solidFill>
                <a:latin typeface="Arial"/>
                <a:cs typeface="Arial"/>
              </a:rPr>
              <a:t>Level</a:t>
            </a:r>
            <a:r>
              <a:rPr spc="-56" dirty="0">
                <a:solidFill>
                  <a:srgbClr val="FFFFFF"/>
                </a:solidFill>
                <a:latin typeface="Arial"/>
                <a:cs typeface="Arial"/>
              </a:rPr>
              <a:t> </a:t>
            </a:r>
            <a:r>
              <a:rPr sz="1050" spc="-4" dirty="0">
                <a:solidFill>
                  <a:srgbClr val="FFFFFF"/>
                </a:solidFill>
                <a:latin typeface="Arial"/>
                <a:cs typeface="Arial"/>
              </a:rPr>
              <a:t>(GMAL)</a:t>
            </a:r>
            <a:endParaRPr sz="1050" dirty="0">
              <a:latin typeface="Arial"/>
              <a:cs typeface="Arial"/>
            </a:endParaRPr>
          </a:p>
          <a:p>
            <a:pPr>
              <a:lnSpc>
                <a:spcPct val="100000"/>
              </a:lnSpc>
            </a:pPr>
            <a:endParaRPr dirty="0">
              <a:latin typeface="Times New Roman"/>
              <a:cs typeface="Times New Roman"/>
            </a:endParaRPr>
          </a:p>
          <a:p>
            <a:pPr>
              <a:spcBef>
                <a:spcPts val="23"/>
              </a:spcBef>
            </a:pPr>
            <a:endParaRPr sz="1425" dirty="0">
              <a:latin typeface="Times New Roman"/>
              <a:cs typeface="Times New Roman"/>
            </a:endParaRPr>
          </a:p>
          <a:p>
            <a:pPr algn="ctr">
              <a:spcBef>
                <a:spcPts val="4"/>
              </a:spcBef>
            </a:pPr>
            <a:r>
              <a:rPr spc="-4" dirty="0">
                <a:solidFill>
                  <a:srgbClr val="FFFFFF"/>
                </a:solidFill>
                <a:latin typeface="Arial"/>
                <a:cs typeface="Arial"/>
              </a:rPr>
              <a:t>Merchant </a:t>
            </a:r>
            <a:r>
              <a:rPr dirty="0">
                <a:solidFill>
                  <a:srgbClr val="FFFFFF"/>
                </a:solidFill>
                <a:latin typeface="Arial"/>
                <a:cs typeface="Arial"/>
              </a:rPr>
              <a:t>Level</a:t>
            </a:r>
            <a:r>
              <a:rPr spc="-4" dirty="0">
                <a:solidFill>
                  <a:srgbClr val="FFFFFF"/>
                </a:solidFill>
                <a:latin typeface="Arial"/>
                <a:cs typeface="Arial"/>
              </a:rPr>
              <a:t> </a:t>
            </a:r>
            <a:r>
              <a:rPr sz="1050" spc="-4" dirty="0">
                <a:solidFill>
                  <a:srgbClr val="FFFFFF"/>
                </a:solidFill>
                <a:latin typeface="Arial"/>
                <a:cs typeface="Arial"/>
              </a:rPr>
              <a:t>(Country/Market)</a:t>
            </a:r>
            <a:endParaRPr sz="1050" dirty="0">
              <a:latin typeface="Arial"/>
              <a:cs typeface="Arial"/>
            </a:endParaRPr>
          </a:p>
          <a:p>
            <a:pPr>
              <a:lnSpc>
                <a:spcPct val="100000"/>
              </a:lnSpc>
            </a:pPr>
            <a:endParaRPr dirty="0">
              <a:latin typeface="Times New Roman"/>
              <a:cs typeface="Times New Roman"/>
            </a:endParaRPr>
          </a:p>
          <a:p>
            <a:pPr>
              <a:spcBef>
                <a:spcPts val="11"/>
              </a:spcBef>
            </a:pPr>
            <a:endParaRPr sz="1463" dirty="0">
              <a:latin typeface="Times New Roman"/>
              <a:cs typeface="Times New Roman"/>
            </a:endParaRPr>
          </a:p>
          <a:p>
            <a:pPr algn="ctr">
              <a:lnSpc>
                <a:spcPts val="2141"/>
              </a:lnSpc>
            </a:pPr>
            <a:r>
              <a:rPr spc="-4" dirty="0">
                <a:solidFill>
                  <a:srgbClr val="FFFFFF"/>
                </a:solidFill>
                <a:latin typeface="Arial"/>
                <a:cs typeface="Arial"/>
              </a:rPr>
              <a:t>Campaigns </a:t>
            </a:r>
            <a:r>
              <a:rPr sz="1050" spc="-4" dirty="0">
                <a:solidFill>
                  <a:srgbClr val="FFFFFF"/>
                </a:solidFill>
                <a:latin typeface="Arial"/>
                <a:cs typeface="Arial"/>
              </a:rPr>
              <a:t>(Marketing </a:t>
            </a:r>
            <a:r>
              <a:rPr sz="1050" dirty="0">
                <a:solidFill>
                  <a:srgbClr val="FFFFFF"/>
                </a:solidFill>
                <a:latin typeface="Arial"/>
                <a:cs typeface="Arial"/>
              </a:rPr>
              <a:t>plans executed via</a:t>
            </a:r>
            <a:r>
              <a:rPr sz="1050" spc="-79" dirty="0">
                <a:solidFill>
                  <a:srgbClr val="FFFFFF"/>
                </a:solidFill>
                <a:latin typeface="Arial"/>
                <a:cs typeface="Arial"/>
              </a:rPr>
              <a:t> </a:t>
            </a:r>
            <a:r>
              <a:rPr sz="1050" dirty="0">
                <a:solidFill>
                  <a:srgbClr val="FFFFFF"/>
                </a:solidFill>
                <a:latin typeface="Arial"/>
                <a:cs typeface="Arial"/>
              </a:rPr>
              <a:t>Agencies)</a:t>
            </a:r>
            <a:endParaRPr sz="1050" dirty="0">
              <a:latin typeface="Arial"/>
              <a:cs typeface="Arial"/>
            </a:endParaRPr>
          </a:p>
        </p:txBody>
      </p:sp>
      <p:sp>
        <p:nvSpPr>
          <p:cNvPr id="39" name="object 16"/>
          <p:cNvSpPr/>
          <p:nvPr/>
        </p:nvSpPr>
        <p:spPr>
          <a:xfrm>
            <a:off x="2798930" y="4375721"/>
            <a:ext cx="1844678" cy="1012822"/>
          </a:xfrm>
          <a:prstGeom prst="rect">
            <a:avLst/>
          </a:prstGeom>
          <a:blipFill>
            <a:blip r:embed="rId9" cstate="print"/>
            <a:stretch>
              <a:fillRect/>
            </a:stretch>
          </a:blipFill>
        </p:spPr>
        <p:txBody>
          <a:bodyPr wrap="square" lIns="0" tIns="0" rIns="0" bIns="0" rtlCol="0"/>
          <a:lstStyle/>
          <a:p>
            <a:endParaRPr sz="1350"/>
          </a:p>
        </p:txBody>
      </p:sp>
      <p:sp>
        <p:nvSpPr>
          <p:cNvPr id="40" name="object 17"/>
          <p:cNvSpPr/>
          <p:nvPr/>
        </p:nvSpPr>
        <p:spPr>
          <a:xfrm>
            <a:off x="3246608" y="4632893"/>
            <a:ext cx="952500" cy="533400"/>
          </a:xfrm>
          <a:prstGeom prst="rect">
            <a:avLst/>
          </a:prstGeom>
          <a:blipFill>
            <a:blip r:embed="rId10" cstate="print"/>
            <a:stretch>
              <a:fillRect/>
            </a:stretch>
          </a:blipFill>
        </p:spPr>
        <p:txBody>
          <a:bodyPr wrap="square" lIns="0" tIns="0" rIns="0" bIns="0" rtlCol="0"/>
          <a:lstStyle/>
          <a:p>
            <a:endParaRPr sz="1350"/>
          </a:p>
        </p:txBody>
      </p:sp>
      <p:sp>
        <p:nvSpPr>
          <p:cNvPr id="41" name="object 18"/>
          <p:cNvSpPr/>
          <p:nvPr/>
        </p:nvSpPr>
        <p:spPr>
          <a:xfrm>
            <a:off x="2834490" y="4392291"/>
            <a:ext cx="1774984" cy="945356"/>
          </a:xfrm>
          <a:custGeom>
            <a:avLst/>
            <a:gdLst/>
            <a:ahLst/>
            <a:cxnLst/>
            <a:rect l="l" t="t" r="r" b="b"/>
            <a:pathLst>
              <a:path w="2366645" h="1260475">
                <a:moveTo>
                  <a:pt x="2240559" y="0"/>
                </a:moveTo>
                <a:lnTo>
                  <a:pt x="125996" y="0"/>
                </a:lnTo>
                <a:lnTo>
                  <a:pt x="76954" y="9901"/>
                </a:lnTo>
                <a:lnTo>
                  <a:pt x="36904" y="36904"/>
                </a:lnTo>
                <a:lnTo>
                  <a:pt x="9901" y="76954"/>
                </a:lnTo>
                <a:lnTo>
                  <a:pt x="0" y="125996"/>
                </a:lnTo>
                <a:lnTo>
                  <a:pt x="0" y="1133928"/>
                </a:lnTo>
                <a:lnTo>
                  <a:pt x="9901" y="1182969"/>
                </a:lnTo>
                <a:lnTo>
                  <a:pt x="36904" y="1223016"/>
                </a:lnTo>
                <a:lnTo>
                  <a:pt x="76954" y="1250017"/>
                </a:lnTo>
                <a:lnTo>
                  <a:pt x="125996" y="1259918"/>
                </a:lnTo>
                <a:lnTo>
                  <a:pt x="2240559" y="1259918"/>
                </a:lnTo>
                <a:lnTo>
                  <a:pt x="2289599" y="1250017"/>
                </a:lnTo>
                <a:lnTo>
                  <a:pt x="2329645" y="1223016"/>
                </a:lnTo>
                <a:lnTo>
                  <a:pt x="2356643" y="1182969"/>
                </a:lnTo>
                <a:lnTo>
                  <a:pt x="2366543" y="1133928"/>
                </a:lnTo>
                <a:lnTo>
                  <a:pt x="2366543" y="125996"/>
                </a:lnTo>
                <a:lnTo>
                  <a:pt x="2356643" y="76954"/>
                </a:lnTo>
                <a:lnTo>
                  <a:pt x="2329645" y="36904"/>
                </a:lnTo>
                <a:lnTo>
                  <a:pt x="2289599" y="9901"/>
                </a:lnTo>
                <a:lnTo>
                  <a:pt x="2240559" y="0"/>
                </a:lnTo>
                <a:close/>
              </a:path>
            </a:pathLst>
          </a:custGeom>
          <a:solidFill>
            <a:srgbClr val="F36E24"/>
          </a:solidFill>
        </p:spPr>
        <p:txBody>
          <a:bodyPr wrap="square" lIns="0" tIns="0" rIns="0" bIns="0" rtlCol="0"/>
          <a:lstStyle/>
          <a:p>
            <a:endParaRPr sz="1350"/>
          </a:p>
        </p:txBody>
      </p:sp>
      <p:sp>
        <p:nvSpPr>
          <p:cNvPr id="42" name="object 19"/>
          <p:cNvSpPr txBox="1"/>
          <p:nvPr/>
        </p:nvSpPr>
        <p:spPr>
          <a:xfrm>
            <a:off x="3412762" y="4705197"/>
            <a:ext cx="618649" cy="269304"/>
          </a:xfrm>
          <a:prstGeom prst="rect">
            <a:avLst/>
          </a:prstGeom>
        </p:spPr>
        <p:txBody>
          <a:bodyPr vert="horz" wrap="square" lIns="0" tIns="0" rIns="0" bIns="0" rtlCol="0">
            <a:spAutoFit/>
          </a:bodyPr>
          <a:lstStyle/>
          <a:p>
            <a:pPr>
              <a:lnSpc>
                <a:spcPts val="2141"/>
              </a:lnSpc>
            </a:pPr>
            <a:r>
              <a:rPr dirty="0">
                <a:solidFill>
                  <a:srgbClr val="FFFFFF"/>
                </a:solidFill>
                <a:latin typeface="Arial"/>
                <a:cs typeface="Arial"/>
              </a:rPr>
              <a:t>O</a:t>
            </a:r>
            <a:r>
              <a:rPr spc="-34" dirty="0">
                <a:solidFill>
                  <a:srgbClr val="FFFFFF"/>
                </a:solidFill>
                <a:latin typeface="Arial"/>
                <a:cs typeface="Arial"/>
              </a:rPr>
              <a:t>f</a:t>
            </a:r>
            <a:r>
              <a:rPr dirty="0">
                <a:solidFill>
                  <a:srgbClr val="FFFFFF"/>
                </a:solidFill>
                <a:latin typeface="Arial"/>
                <a:cs typeface="Arial"/>
              </a:rPr>
              <a:t>fers</a:t>
            </a:r>
            <a:endParaRPr>
              <a:latin typeface="Arial"/>
              <a:cs typeface="Arial"/>
            </a:endParaRPr>
          </a:p>
        </p:txBody>
      </p:sp>
      <p:sp>
        <p:nvSpPr>
          <p:cNvPr id="43" name="object 20"/>
          <p:cNvSpPr/>
          <p:nvPr/>
        </p:nvSpPr>
        <p:spPr>
          <a:xfrm>
            <a:off x="4592805" y="4375721"/>
            <a:ext cx="1844678" cy="1012822"/>
          </a:xfrm>
          <a:prstGeom prst="rect">
            <a:avLst/>
          </a:prstGeom>
          <a:blipFill>
            <a:blip r:embed="rId11" cstate="print"/>
            <a:stretch>
              <a:fillRect/>
            </a:stretch>
          </a:blipFill>
        </p:spPr>
        <p:txBody>
          <a:bodyPr wrap="square" lIns="0" tIns="0" rIns="0" bIns="0" rtlCol="0"/>
          <a:lstStyle/>
          <a:p>
            <a:endParaRPr sz="1350"/>
          </a:p>
        </p:txBody>
      </p:sp>
      <p:sp>
        <p:nvSpPr>
          <p:cNvPr id="44" name="object 21"/>
          <p:cNvSpPr/>
          <p:nvPr/>
        </p:nvSpPr>
        <p:spPr>
          <a:xfrm>
            <a:off x="4726155" y="4515417"/>
            <a:ext cx="1577978" cy="768350"/>
          </a:xfrm>
          <a:prstGeom prst="rect">
            <a:avLst/>
          </a:prstGeom>
          <a:blipFill>
            <a:blip r:embed="rId12" cstate="print"/>
            <a:stretch>
              <a:fillRect/>
            </a:stretch>
          </a:blipFill>
        </p:spPr>
        <p:txBody>
          <a:bodyPr wrap="square" lIns="0" tIns="0" rIns="0" bIns="0" rtlCol="0"/>
          <a:lstStyle/>
          <a:p>
            <a:endParaRPr sz="1350"/>
          </a:p>
        </p:txBody>
      </p:sp>
      <p:sp>
        <p:nvSpPr>
          <p:cNvPr id="45" name="object 22"/>
          <p:cNvSpPr/>
          <p:nvPr/>
        </p:nvSpPr>
        <p:spPr>
          <a:xfrm>
            <a:off x="4626942" y="4392291"/>
            <a:ext cx="1774984" cy="945356"/>
          </a:xfrm>
          <a:custGeom>
            <a:avLst/>
            <a:gdLst/>
            <a:ahLst/>
            <a:cxnLst/>
            <a:rect l="l" t="t" r="r" b="b"/>
            <a:pathLst>
              <a:path w="2366645" h="1260475">
                <a:moveTo>
                  <a:pt x="2240559" y="0"/>
                </a:moveTo>
                <a:lnTo>
                  <a:pt x="125996" y="0"/>
                </a:lnTo>
                <a:lnTo>
                  <a:pt x="76954" y="9901"/>
                </a:lnTo>
                <a:lnTo>
                  <a:pt x="36904" y="36904"/>
                </a:lnTo>
                <a:lnTo>
                  <a:pt x="9901" y="76954"/>
                </a:lnTo>
                <a:lnTo>
                  <a:pt x="0" y="125996"/>
                </a:lnTo>
                <a:lnTo>
                  <a:pt x="0" y="1133928"/>
                </a:lnTo>
                <a:lnTo>
                  <a:pt x="9901" y="1182969"/>
                </a:lnTo>
                <a:lnTo>
                  <a:pt x="36904" y="1223016"/>
                </a:lnTo>
                <a:lnTo>
                  <a:pt x="76954" y="1250017"/>
                </a:lnTo>
                <a:lnTo>
                  <a:pt x="125996" y="1259918"/>
                </a:lnTo>
                <a:lnTo>
                  <a:pt x="2240559" y="1259918"/>
                </a:lnTo>
                <a:lnTo>
                  <a:pt x="2289599" y="1250017"/>
                </a:lnTo>
                <a:lnTo>
                  <a:pt x="2329645" y="1223016"/>
                </a:lnTo>
                <a:lnTo>
                  <a:pt x="2356643" y="1182969"/>
                </a:lnTo>
                <a:lnTo>
                  <a:pt x="2366543" y="1133928"/>
                </a:lnTo>
                <a:lnTo>
                  <a:pt x="2366543" y="125996"/>
                </a:lnTo>
                <a:lnTo>
                  <a:pt x="2356643" y="76954"/>
                </a:lnTo>
                <a:lnTo>
                  <a:pt x="2329645" y="36904"/>
                </a:lnTo>
                <a:lnTo>
                  <a:pt x="2289599" y="9901"/>
                </a:lnTo>
                <a:lnTo>
                  <a:pt x="2240559" y="0"/>
                </a:lnTo>
                <a:close/>
              </a:path>
            </a:pathLst>
          </a:custGeom>
          <a:solidFill>
            <a:srgbClr val="F36E24"/>
          </a:solidFill>
        </p:spPr>
        <p:txBody>
          <a:bodyPr wrap="square" lIns="0" tIns="0" rIns="0" bIns="0" rtlCol="0"/>
          <a:lstStyle/>
          <a:p>
            <a:endParaRPr sz="1350"/>
          </a:p>
        </p:txBody>
      </p:sp>
      <p:sp>
        <p:nvSpPr>
          <p:cNvPr id="46" name="object 23"/>
          <p:cNvSpPr txBox="1"/>
          <p:nvPr/>
        </p:nvSpPr>
        <p:spPr>
          <a:xfrm>
            <a:off x="4891795" y="4625016"/>
            <a:ext cx="1245394" cy="487313"/>
          </a:xfrm>
          <a:prstGeom prst="rect">
            <a:avLst/>
          </a:prstGeom>
        </p:spPr>
        <p:txBody>
          <a:bodyPr vert="horz" wrap="square" lIns="0" tIns="0" rIns="0" bIns="0" rtlCol="0">
            <a:spAutoFit/>
          </a:bodyPr>
          <a:lstStyle/>
          <a:p>
            <a:pPr indent="361950">
              <a:lnSpc>
                <a:spcPts val="1875"/>
              </a:lnSpc>
            </a:pPr>
            <a:r>
              <a:rPr dirty="0">
                <a:solidFill>
                  <a:srgbClr val="FFFFFF"/>
                </a:solidFill>
                <a:latin typeface="Arial"/>
                <a:cs typeface="Arial"/>
              </a:rPr>
              <a:t>Push  </a:t>
            </a:r>
            <a:r>
              <a:rPr spc="-4" dirty="0">
                <a:solidFill>
                  <a:srgbClr val="FFFFFF"/>
                </a:solidFill>
                <a:latin typeface="Arial"/>
                <a:cs typeface="Arial"/>
              </a:rPr>
              <a:t>N</a:t>
            </a:r>
            <a:r>
              <a:rPr dirty="0">
                <a:solidFill>
                  <a:srgbClr val="FFFFFF"/>
                </a:solidFill>
                <a:latin typeface="Arial"/>
                <a:cs typeface="Arial"/>
              </a:rPr>
              <a:t>ot</a:t>
            </a:r>
            <a:r>
              <a:rPr spc="-4" dirty="0">
                <a:solidFill>
                  <a:srgbClr val="FFFFFF"/>
                </a:solidFill>
                <a:latin typeface="Arial"/>
                <a:cs typeface="Arial"/>
              </a:rPr>
              <a:t>i</a:t>
            </a:r>
            <a:r>
              <a:rPr dirty="0">
                <a:solidFill>
                  <a:srgbClr val="FFFFFF"/>
                </a:solidFill>
                <a:latin typeface="Arial"/>
                <a:cs typeface="Arial"/>
              </a:rPr>
              <a:t>f</a:t>
            </a:r>
            <a:r>
              <a:rPr spc="-4" dirty="0">
                <a:solidFill>
                  <a:srgbClr val="FFFFFF"/>
                </a:solidFill>
                <a:latin typeface="Arial"/>
                <a:cs typeface="Arial"/>
              </a:rPr>
              <a:t>i</a:t>
            </a:r>
            <a:r>
              <a:rPr dirty="0">
                <a:solidFill>
                  <a:srgbClr val="FFFFFF"/>
                </a:solidFill>
                <a:latin typeface="Arial"/>
                <a:cs typeface="Arial"/>
              </a:rPr>
              <a:t>cat</a:t>
            </a:r>
            <a:r>
              <a:rPr spc="-4" dirty="0">
                <a:solidFill>
                  <a:srgbClr val="FFFFFF"/>
                </a:solidFill>
                <a:latin typeface="Arial"/>
                <a:cs typeface="Arial"/>
              </a:rPr>
              <a:t>i</a:t>
            </a:r>
            <a:r>
              <a:rPr dirty="0">
                <a:solidFill>
                  <a:srgbClr val="FFFFFF"/>
                </a:solidFill>
                <a:latin typeface="Arial"/>
                <a:cs typeface="Arial"/>
              </a:rPr>
              <a:t>ons</a:t>
            </a:r>
            <a:endParaRPr>
              <a:latin typeface="Arial"/>
              <a:cs typeface="Arial"/>
            </a:endParaRPr>
          </a:p>
        </p:txBody>
      </p:sp>
      <p:sp>
        <p:nvSpPr>
          <p:cNvPr id="47" name="object 24"/>
          <p:cNvSpPr/>
          <p:nvPr/>
        </p:nvSpPr>
        <p:spPr>
          <a:xfrm>
            <a:off x="6405727" y="4375721"/>
            <a:ext cx="1844678" cy="1012822"/>
          </a:xfrm>
          <a:prstGeom prst="rect">
            <a:avLst/>
          </a:prstGeom>
          <a:blipFill>
            <a:blip r:embed="rId13" cstate="print"/>
            <a:stretch>
              <a:fillRect/>
            </a:stretch>
          </a:blipFill>
        </p:spPr>
        <p:txBody>
          <a:bodyPr wrap="square" lIns="0" tIns="0" rIns="0" bIns="0" rtlCol="0"/>
          <a:lstStyle/>
          <a:p>
            <a:endParaRPr sz="1350"/>
          </a:p>
        </p:txBody>
      </p:sp>
      <p:sp>
        <p:nvSpPr>
          <p:cNvPr id="48" name="object 25"/>
          <p:cNvSpPr/>
          <p:nvPr/>
        </p:nvSpPr>
        <p:spPr>
          <a:xfrm>
            <a:off x="6370808" y="4397947"/>
            <a:ext cx="1974847" cy="1003297"/>
          </a:xfrm>
          <a:prstGeom prst="rect">
            <a:avLst/>
          </a:prstGeom>
          <a:blipFill>
            <a:blip r:embed="rId14" cstate="print"/>
            <a:stretch>
              <a:fillRect/>
            </a:stretch>
          </a:blipFill>
        </p:spPr>
        <p:txBody>
          <a:bodyPr wrap="square" lIns="0" tIns="0" rIns="0" bIns="0" rtlCol="0"/>
          <a:lstStyle/>
          <a:p>
            <a:endParaRPr sz="1350"/>
          </a:p>
        </p:txBody>
      </p:sp>
      <p:sp>
        <p:nvSpPr>
          <p:cNvPr id="49" name="object 26"/>
          <p:cNvSpPr/>
          <p:nvPr/>
        </p:nvSpPr>
        <p:spPr>
          <a:xfrm>
            <a:off x="6439131" y="4392291"/>
            <a:ext cx="1774984" cy="945356"/>
          </a:xfrm>
          <a:custGeom>
            <a:avLst/>
            <a:gdLst/>
            <a:ahLst/>
            <a:cxnLst/>
            <a:rect l="l" t="t" r="r" b="b"/>
            <a:pathLst>
              <a:path w="2366645" h="1260475">
                <a:moveTo>
                  <a:pt x="2240546" y="0"/>
                </a:moveTo>
                <a:lnTo>
                  <a:pt x="125984" y="0"/>
                </a:lnTo>
                <a:lnTo>
                  <a:pt x="76943" y="9901"/>
                </a:lnTo>
                <a:lnTo>
                  <a:pt x="36898" y="36904"/>
                </a:lnTo>
                <a:lnTo>
                  <a:pt x="9899" y="76954"/>
                </a:lnTo>
                <a:lnTo>
                  <a:pt x="0" y="125996"/>
                </a:lnTo>
                <a:lnTo>
                  <a:pt x="0" y="1133928"/>
                </a:lnTo>
                <a:lnTo>
                  <a:pt x="9899" y="1182969"/>
                </a:lnTo>
                <a:lnTo>
                  <a:pt x="36898" y="1223016"/>
                </a:lnTo>
                <a:lnTo>
                  <a:pt x="76943" y="1250017"/>
                </a:lnTo>
                <a:lnTo>
                  <a:pt x="125984" y="1259918"/>
                </a:lnTo>
                <a:lnTo>
                  <a:pt x="2240546" y="1259918"/>
                </a:lnTo>
                <a:lnTo>
                  <a:pt x="2289589" y="1250017"/>
                </a:lnTo>
                <a:lnTo>
                  <a:pt x="2329638" y="1223016"/>
                </a:lnTo>
                <a:lnTo>
                  <a:pt x="2356641" y="1182969"/>
                </a:lnTo>
                <a:lnTo>
                  <a:pt x="2366543" y="1133928"/>
                </a:lnTo>
                <a:lnTo>
                  <a:pt x="2366543" y="125996"/>
                </a:lnTo>
                <a:lnTo>
                  <a:pt x="2356641" y="76954"/>
                </a:lnTo>
                <a:lnTo>
                  <a:pt x="2329638" y="36904"/>
                </a:lnTo>
                <a:lnTo>
                  <a:pt x="2289589" y="9901"/>
                </a:lnTo>
                <a:lnTo>
                  <a:pt x="2240546" y="0"/>
                </a:lnTo>
                <a:close/>
              </a:path>
            </a:pathLst>
          </a:custGeom>
          <a:solidFill>
            <a:srgbClr val="F36E24"/>
          </a:solidFill>
        </p:spPr>
        <p:txBody>
          <a:bodyPr wrap="square" lIns="0" tIns="0" rIns="0" bIns="0" rtlCol="0"/>
          <a:lstStyle/>
          <a:p>
            <a:endParaRPr sz="1350"/>
          </a:p>
        </p:txBody>
      </p:sp>
      <p:sp>
        <p:nvSpPr>
          <p:cNvPr id="50" name="object 27"/>
          <p:cNvSpPr txBox="1"/>
          <p:nvPr/>
        </p:nvSpPr>
        <p:spPr>
          <a:xfrm>
            <a:off x="6538820" y="4506501"/>
            <a:ext cx="1575911" cy="714619"/>
          </a:xfrm>
          <a:prstGeom prst="rect">
            <a:avLst/>
          </a:prstGeom>
        </p:spPr>
        <p:txBody>
          <a:bodyPr vert="horz" wrap="square" lIns="0" tIns="0" rIns="0" bIns="0" rtlCol="0">
            <a:spAutoFit/>
          </a:bodyPr>
          <a:lstStyle/>
          <a:p>
            <a:pPr indent="-476" algn="ctr">
              <a:lnSpc>
                <a:spcPct val="86200"/>
              </a:lnSpc>
            </a:pPr>
            <a:r>
              <a:rPr spc="-4" dirty="0">
                <a:solidFill>
                  <a:srgbClr val="FFFFFF"/>
                </a:solidFill>
                <a:latin typeface="Arial"/>
                <a:cs typeface="Arial"/>
              </a:rPr>
              <a:t>In-App Content  </a:t>
            </a:r>
            <a:r>
              <a:rPr dirty="0">
                <a:solidFill>
                  <a:srgbClr val="FFFFFF"/>
                </a:solidFill>
                <a:latin typeface="Arial"/>
                <a:cs typeface="Arial"/>
              </a:rPr>
              <a:t>&amp; Banner  Adve</a:t>
            </a:r>
            <a:r>
              <a:rPr spc="-4" dirty="0">
                <a:solidFill>
                  <a:srgbClr val="FFFFFF"/>
                </a:solidFill>
                <a:latin typeface="Arial"/>
                <a:cs typeface="Arial"/>
              </a:rPr>
              <a:t>r</a:t>
            </a:r>
            <a:r>
              <a:rPr dirty="0">
                <a:solidFill>
                  <a:srgbClr val="FFFFFF"/>
                </a:solidFill>
                <a:latin typeface="Arial"/>
                <a:cs typeface="Arial"/>
              </a:rPr>
              <a:t>t</a:t>
            </a:r>
            <a:r>
              <a:rPr spc="-4" dirty="0">
                <a:solidFill>
                  <a:srgbClr val="FFFFFF"/>
                </a:solidFill>
                <a:latin typeface="Arial"/>
                <a:cs typeface="Arial"/>
              </a:rPr>
              <a:t>i</a:t>
            </a:r>
            <a:r>
              <a:rPr dirty="0">
                <a:solidFill>
                  <a:srgbClr val="FFFFFF"/>
                </a:solidFill>
                <a:latin typeface="Arial"/>
                <a:cs typeface="Arial"/>
              </a:rPr>
              <a:t>se</a:t>
            </a:r>
            <a:r>
              <a:rPr spc="-4" dirty="0">
                <a:solidFill>
                  <a:srgbClr val="FFFFFF"/>
                </a:solidFill>
                <a:latin typeface="Arial"/>
                <a:cs typeface="Arial"/>
              </a:rPr>
              <a:t>m</a:t>
            </a:r>
            <a:r>
              <a:rPr dirty="0">
                <a:solidFill>
                  <a:srgbClr val="FFFFFF"/>
                </a:solidFill>
                <a:latin typeface="Arial"/>
                <a:cs typeface="Arial"/>
              </a:rPr>
              <a:t>ents</a:t>
            </a:r>
            <a:endParaRPr>
              <a:latin typeface="Arial"/>
              <a:cs typeface="Arial"/>
            </a:endParaRPr>
          </a:p>
        </p:txBody>
      </p:sp>
      <p:sp>
        <p:nvSpPr>
          <p:cNvPr id="51" name="object 28"/>
          <p:cNvSpPr/>
          <p:nvPr/>
        </p:nvSpPr>
        <p:spPr>
          <a:xfrm>
            <a:off x="8215477" y="4375721"/>
            <a:ext cx="1844678" cy="1012822"/>
          </a:xfrm>
          <a:prstGeom prst="rect">
            <a:avLst/>
          </a:prstGeom>
          <a:blipFill>
            <a:blip r:embed="rId15" cstate="print"/>
            <a:stretch>
              <a:fillRect/>
            </a:stretch>
          </a:blipFill>
        </p:spPr>
        <p:txBody>
          <a:bodyPr wrap="square" lIns="0" tIns="0" rIns="0" bIns="0" rtlCol="0"/>
          <a:lstStyle/>
          <a:p>
            <a:endParaRPr sz="1350"/>
          </a:p>
        </p:txBody>
      </p:sp>
      <p:sp>
        <p:nvSpPr>
          <p:cNvPr id="52" name="object 29"/>
          <p:cNvSpPr/>
          <p:nvPr/>
        </p:nvSpPr>
        <p:spPr>
          <a:xfrm>
            <a:off x="8272627" y="4632893"/>
            <a:ext cx="1730378" cy="533400"/>
          </a:xfrm>
          <a:prstGeom prst="rect">
            <a:avLst/>
          </a:prstGeom>
          <a:blipFill>
            <a:blip r:embed="rId16" cstate="print"/>
            <a:stretch>
              <a:fillRect/>
            </a:stretch>
          </a:blipFill>
        </p:spPr>
        <p:txBody>
          <a:bodyPr wrap="square" lIns="0" tIns="0" rIns="0" bIns="0" rtlCol="0"/>
          <a:lstStyle/>
          <a:p>
            <a:endParaRPr sz="1350"/>
          </a:p>
        </p:txBody>
      </p:sp>
      <p:sp>
        <p:nvSpPr>
          <p:cNvPr id="53" name="object 30"/>
          <p:cNvSpPr/>
          <p:nvPr/>
        </p:nvSpPr>
        <p:spPr>
          <a:xfrm>
            <a:off x="8251310" y="4392291"/>
            <a:ext cx="1774984" cy="945356"/>
          </a:xfrm>
          <a:custGeom>
            <a:avLst/>
            <a:gdLst/>
            <a:ahLst/>
            <a:cxnLst/>
            <a:rect l="l" t="t" r="r" b="b"/>
            <a:pathLst>
              <a:path w="2366645" h="1260475">
                <a:moveTo>
                  <a:pt x="2240559" y="0"/>
                </a:moveTo>
                <a:lnTo>
                  <a:pt x="125996" y="0"/>
                </a:lnTo>
                <a:lnTo>
                  <a:pt x="76954" y="9901"/>
                </a:lnTo>
                <a:lnTo>
                  <a:pt x="36904" y="36904"/>
                </a:lnTo>
                <a:lnTo>
                  <a:pt x="9901" y="76954"/>
                </a:lnTo>
                <a:lnTo>
                  <a:pt x="0" y="125996"/>
                </a:lnTo>
                <a:lnTo>
                  <a:pt x="0" y="1133928"/>
                </a:lnTo>
                <a:lnTo>
                  <a:pt x="9901" y="1182969"/>
                </a:lnTo>
                <a:lnTo>
                  <a:pt x="36904" y="1223016"/>
                </a:lnTo>
                <a:lnTo>
                  <a:pt x="76954" y="1250017"/>
                </a:lnTo>
                <a:lnTo>
                  <a:pt x="125996" y="1259918"/>
                </a:lnTo>
                <a:lnTo>
                  <a:pt x="2240559" y="1259918"/>
                </a:lnTo>
                <a:lnTo>
                  <a:pt x="2289599" y="1250017"/>
                </a:lnTo>
                <a:lnTo>
                  <a:pt x="2329645" y="1223016"/>
                </a:lnTo>
                <a:lnTo>
                  <a:pt x="2356643" y="1182969"/>
                </a:lnTo>
                <a:lnTo>
                  <a:pt x="2366543" y="1133928"/>
                </a:lnTo>
                <a:lnTo>
                  <a:pt x="2366543" y="125996"/>
                </a:lnTo>
                <a:lnTo>
                  <a:pt x="2356643" y="76954"/>
                </a:lnTo>
                <a:lnTo>
                  <a:pt x="2329645" y="36904"/>
                </a:lnTo>
                <a:lnTo>
                  <a:pt x="2289599" y="9901"/>
                </a:lnTo>
                <a:lnTo>
                  <a:pt x="2240559" y="0"/>
                </a:lnTo>
                <a:close/>
              </a:path>
            </a:pathLst>
          </a:custGeom>
          <a:solidFill>
            <a:srgbClr val="F36E24"/>
          </a:solidFill>
        </p:spPr>
        <p:txBody>
          <a:bodyPr wrap="square" lIns="0" tIns="0" rIns="0" bIns="0" rtlCol="0"/>
          <a:lstStyle/>
          <a:p>
            <a:endParaRPr sz="1350"/>
          </a:p>
        </p:txBody>
      </p:sp>
      <p:sp>
        <p:nvSpPr>
          <p:cNvPr id="54" name="object 31"/>
          <p:cNvSpPr txBox="1"/>
          <p:nvPr/>
        </p:nvSpPr>
        <p:spPr>
          <a:xfrm>
            <a:off x="8439915" y="4705197"/>
            <a:ext cx="1397794" cy="269304"/>
          </a:xfrm>
          <a:prstGeom prst="rect">
            <a:avLst/>
          </a:prstGeom>
        </p:spPr>
        <p:txBody>
          <a:bodyPr vert="horz" wrap="square" lIns="0" tIns="0" rIns="0" bIns="0" rtlCol="0">
            <a:spAutoFit/>
          </a:bodyPr>
          <a:lstStyle/>
          <a:p>
            <a:pPr>
              <a:lnSpc>
                <a:spcPts val="2141"/>
              </a:lnSpc>
            </a:pPr>
            <a:r>
              <a:rPr spc="-4" dirty="0">
                <a:solidFill>
                  <a:srgbClr val="FFFFFF"/>
                </a:solidFill>
                <a:latin typeface="Arial"/>
                <a:cs typeface="Arial"/>
              </a:rPr>
              <a:t>Loyalty</a:t>
            </a:r>
            <a:r>
              <a:rPr spc="-41" dirty="0">
                <a:solidFill>
                  <a:srgbClr val="FFFFFF"/>
                </a:solidFill>
                <a:latin typeface="Arial"/>
                <a:cs typeface="Arial"/>
              </a:rPr>
              <a:t> </a:t>
            </a:r>
            <a:r>
              <a:rPr spc="-4" dirty="0">
                <a:solidFill>
                  <a:srgbClr val="FFFFFF"/>
                </a:solidFill>
                <a:latin typeface="Arial"/>
                <a:cs typeface="Arial"/>
              </a:rPr>
              <a:t>Cards</a:t>
            </a:r>
            <a:endParaRPr>
              <a:latin typeface="Arial"/>
              <a:cs typeface="Arial"/>
            </a:endParaRPr>
          </a:p>
        </p:txBody>
      </p:sp>
      <p:sp>
        <p:nvSpPr>
          <p:cNvPr id="55" name="Rounded Rectangular Callout 54"/>
          <p:cNvSpPr/>
          <p:nvPr/>
        </p:nvSpPr>
        <p:spPr>
          <a:xfrm>
            <a:off x="2480344" y="5788307"/>
            <a:ext cx="7917574" cy="721437"/>
          </a:xfrm>
          <a:prstGeom prst="wedgeRoundRectCallou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t>* All contents are managed or organized into the Campaign for effective management</a:t>
            </a:r>
          </a:p>
        </p:txBody>
      </p:sp>
    </p:spTree>
    <p:extLst>
      <p:ext uri="{BB962C8B-B14F-4D97-AF65-F5344CB8AC3E}">
        <p14:creationId xmlns:p14="http://schemas.microsoft.com/office/powerpoint/2010/main" val="66919466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8" y="0"/>
            <a:ext cx="12188825" cy="6858000"/>
          </a:xfrm>
          <a:prstGeom prst="rect">
            <a:avLst/>
          </a:prstGeom>
          <a:noFill/>
          <a:ln>
            <a:solidFill>
              <a:schemeClr val="bg1">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Triangle 14"/>
          <p:cNvSpPr/>
          <p:nvPr/>
        </p:nvSpPr>
        <p:spPr>
          <a:xfrm flipH="1">
            <a:off x="10786923" y="6227449"/>
            <a:ext cx="1403489" cy="630552"/>
          </a:xfrm>
          <a:prstGeom prst="rtTriangle">
            <a:avLst/>
          </a:prstGeom>
          <a:solidFill>
            <a:srgbClr val="E0E8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175885" y="2883495"/>
            <a:ext cx="7450557" cy="1015663"/>
          </a:xfrm>
          <a:prstGeom prst="rect">
            <a:avLst/>
          </a:prstGeom>
          <a:noFill/>
        </p:spPr>
        <p:txBody>
          <a:bodyPr wrap="square" rtlCol="0">
            <a:spAutoFit/>
          </a:bodyPr>
          <a:lstStyle/>
          <a:p>
            <a:pPr algn="ctr"/>
            <a:r>
              <a:rPr lang="en-US" sz="6000" b="1" dirty="0">
                <a:solidFill>
                  <a:schemeClr val="accent2">
                    <a:lumMod val="75000"/>
                  </a:schemeClr>
                </a:solidFill>
                <a:latin typeface="Open Sans"/>
                <a:cs typeface="Arial Black"/>
              </a:rPr>
              <a:t>User Management</a:t>
            </a:r>
            <a:endParaRPr lang="en-US" sz="6000" b="1" dirty="0">
              <a:latin typeface="Open Sans"/>
            </a:endParaRPr>
          </a:p>
        </p:txBody>
      </p:sp>
    </p:spTree>
    <p:extLst>
      <p:ext uri="{BB962C8B-B14F-4D97-AF65-F5344CB8AC3E}">
        <p14:creationId xmlns:p14="http://schemas.microsoft.com/office/powerpoint/2010/main" val="254182784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9NzhzfZzNJjMqRq4tRk5Q"/>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inmXzbhQ1e2KJ7Cc5qXO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9NzhzfZzNJjMqRq4tRk5Q"/>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CD_2020_v1.5">
  <a:themeElements>
    <a:clrScheme name="Custom 67">
      <a:dk1>
        <a:srgbClr val="000000"/>
      </a:dk1>
      <a:lt1>
        <a:srgbClr val="FFFFFF"/>
      </a:lt1>
      <a:dk2>
        <a:srgbClr val="53565A"/>
      </a:dk2>
      <a:lt2>
        <a:srgbClr val="D9D9D6"/>
      </a:lt2>
      <a:accent1>
        <a:srgbClr val="FFBC0D"/>
      </a:accent1>
      <a:accent2>
        <a:srgbClr val="DB0007"/>
      </a:accent2>
      <a:accent3>
        <a:srgbClr val="A9C23F"/>
      </a:accent3>
      <a:accent4>
        <a:srgbClr val="4C9FC8"/>
      </a:accent4>
      <a:accent5>
        <a:srgbClr val="B69A81"/>
      </a:accent5>
      <a:accent6>
        <a:srgbClr val="8A8A8D"/>
      </a:accent6>
      <a:hlink>
        <a:srgbClr val="DEBC8B"/>
      </a:hlink>
      <a:folHlink>
        <a:srgbClr val="D7D2CB"/>
      </a:folHlink>
    </a:clrScheme>
    <a:fontScheme name="Custom 36">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CD_2020_v1.5" id="{5E9D6323-F097-423A-9CA1-EB45B0C5B867}" vid="{ACA3A455-B99D-4DBA-827F-DCB14732BB75}"/>
    </a:ext>
  </a:extLst>
</a:theme>
</file>

<file path=ppt/theme/theme2.xml><?xml version="1.0" encoding="utf-8"?>
<a:theme xmlns:a="http://schemas.openxmlformats.org/drawingml/2006/main" name="1_McD">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McD">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MCD_2020_v1.5">
  <a:themeElements>
    <a:clrScheme name="Custom 67">
      <a:dk1>
        <a:srgbClr val="000000"/>
      </a:dk1>
      <a:lt1>
        <a:srgbClr val="FFFFFF"/>
      </a:lt1>
      <a:dk2>
        <a:srgbClr val="53565A"/>
      </a:dk2>
      <a:lt2>
        <a:srgbClr val="D9D9D6"/>
      </a:lt2>
      <a:accent1>
        <a:srgbClr val="FFBC0D"/>
      </a:accent1>
      <a:accent2>
        <a:srgbClr val="DB0007"/>
      </a:accent2>
      <a:accent3>
        <a:srgbClr val="A9C23F"/>
      </a:accent3>
      <a:accent4>
        <a:srgbClr val="4C9FC8"/>
      </a:accent4>
      <a:accent5>
        <a:srgbClr val="B69A81"/>
      </a:accent5>
      <a:accent6>
        <a:srgbClr val="8A8A8D"/>
      </a:accent6>
      <a:hlink>
        <a:srgbClr val="DEBC8B"/>
      </a:hlink>
      <a:folHlink>
        <a:srgbClr val="D7D2CB"/>
      </a:folHlink>
    </a:clrScheme>
    <a:fontScheme name="Custom 36">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CD_2020_v1.5" id="{5E9D6323-F097-423A-9CA1-EB45B0C5B867}" vid="{ACA3A455-B99D-4DBA-827F-DCB14732BB7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98c6ba5-f6a6-40ed-87f4-d2392211ed2b" xsi:nil="true"/>
    <lcf76f155ced4ddcb4097134ff3c332f xmlns="32d0f106-84ba-4729-858f-c7f38726f8d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35FE645942BA42A47725B1E6544B1F" ma:contentTypeVersion="18" ma:contentTypeDescription="Create a new document." ma:contentTypeScope="" ma:versionID="15b2be8818bc28d429ce1f470a55e463">
  <xsd:schema xmlns:xsd="http://www.w3.org/2001/XMLSchema" xmlns:xs="http://www.w3.org/2001/XMLSchema" xmlns:p="http://schemas.microsoft.com/office/2006/metadata/properties" xmlns:ns2="b98c6ba5-f6a6-40ed-87f4-d2392211ed2b" xmlns:ns3="32d0f106-84ba-4729-858f-c7f38726f8de" targetNamespace="http://schemas.microsoft.com/office/2006/metadata/properties" ma:root="true" ma:fieldsID="1e6fce9524bbfd6bc38c0868cbe977f5" ns2:_="" ns3:_="">
    <xsd:import namespace="b98c6ba5-f6a6-40ed-87f4-d2392211ed2b"/>
    <xsd:import namespace="32d0f106-84ba-4729-858f-c7f38726f8d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lcf76f155ced4ddcb4097134ff3c332f" minOccurs="0"/>
                <xsd:element ref="ns2:TaxCatchAll" minOccurs="0"/>
                <xsd:element ref="ns3:MediaServiceObjectDetectorVersions" minOccurs="0"/>
                <xsd:element ref="ns3:MediaServiceSearchPropertie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8c6ba5-f6a6-40ed-87f4-d2392211ed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2" nillable="true" ma:displayName="Taxonomy Catch All Column" ma:hidden="true" ma:list="{8ea13421-8d58-406f-b44a-2247ba8314ef}" ma:internalName="TaxCatchAll" ma:showField="CatchAllData" ma:web="b98c6ba5-f6a6-40ed-87f4-d2392211ed2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2d0f106-84ba-4729-858f-c7f38726f8de"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c20cc51-d7bf-4bb9-bd99-185e461ab03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B5F67C-ED53-41CB-9887-13FCB1B7A353}">
  <ds:schemaRefs>
    <ds:schemaRef ds:uri="http://schemas.microsoft.com/office/2006/documentManagement/types"/>
    <ds:schemaRef ds:uri="http://purl.org/dc/terms/"/>
    <ds:schemaRef ds:uri="45f5f67e-e061-4552-bcee-83d5eb89c2af"/>
    <ds:schemaRef ds:uri="http://purl.org/dc/dcmitype/"/>
    <ds:schemaRef ds:uri="http://schemas.microsoft.com/office/infopath/2007/PartnerControls"/>
    <ds:schemaRef ds:uri="http://purl.org/dc/elements/1.1/"/>
    <ds:schemaRef ds:uri="http://schemas.microsoft.com/office/2006/metadata/properties"/>
    <ds:schemaRef ds:uri="21c14a44-2e2e-47dd-83a5-5db48aacfe2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870D813-2712-4F51-8157-676C052A2583}">
  <ds:schemaRefs>
    <ds:schemaRef ds:uri="http://schemas.microsoft.com/sharepoint/v3/contenttype/forms"/>
  </ds:schemaRefs>
</ds:datastoreItem>
</file>

<file path=customXml/itemProps3.xml><?xml version="1.0" encoding="utf-8"?>
<ds:datastoreItem xmlns:ds="http://schemas.openxmlformats.org/officeDocument/2006/customXml" ds:itemID="{9462EE51-31EB-4D6C-9A81-1788514F21BE}"/>
</file>

<file path=docProps/app.xml><?xml version="1.0" encoding="utf-8"?>
<Properties xmlns="http://schemas.openxmlformats.org/officeDocument/2006/extended-properties" xmlns:vt="http://schemas.openxmlformats.org/officeDocument/2006/docPropsVTypes">
  <Template/>
  <TotalTime>17737</TotalTime>
  <Words>3000</Words>
  <Application>Microsoft Office PowerPoint</Application>
  <PresentationFormat>Widescreen</PresentationFormat>
  <Paragraphs>382</Paragraphs>
  <Slides>51</Slides>
  <Notes>27</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66" baseType="lpstr">
      <vt:lpstr>-apple-system</vt:lpstr>
      <vt:lpstr>Arial</vt:lpstr>
      <vt:lpstr>Calibri</vt:lpstr>
      <vt:lpstr>Montserrat Semi Bold</vt:lpstr>
      <vt:lpstr>Open Sans</vt:lpstr>
      <vt:lpstr>Open Sans </vt:lpstr>
      <vt:lpstr>Open Sans Light</vt:lpstr>
      <vt:lpstr>Roboto</vt:lpstr>
      <vt:lpstr>Speedee</vt:lpstr>
      <vt:lpstr>Times New Roman</vt:lpstr>
      <vt:lpstr>MCD_2020_v1.5</vt:lpstr>
      <vt:lpstr>1_McD</vt:lpstr>
      <vt:lpstr>3_McD</vt:lpstr>
      <vt:lpstr>1_MCD_2020_v1.5</vt:lpstr>
      <vt:lpstr>think-cell Slide</vt:lpstr>
      <vt:lpstr>PowerPoint Presentation</vt:lpstr>
      <vt:lpstr>PowerPoint Presentation</vt:lpstr>
      <vt:lpstr>PowerPoint Presentation</vt:lpstr>
      <vt:lpstr>PowerPoint Presentation</vt:lpstr>
      <vt:lpstr>PowerPoint Presentation</vt:lpstr>
      <vt:lpstr>GMAL Plexure Feat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lexure Content &amp; Advertisement</vt:lpstr>
      <vt:lpstr>Steps in Advertisement Creation</vt:lpstr>
      <vt:lpstr>Plexure Advertisement Creation</vt:lpstr>
      <vt:lpstr>Linking Banners to different Section of App</vt:lpstr>
      <vt:lpstr>PowerPoint Presentation</vt:lpstr>
      <vt:lpstr>Web View Page Orientation</vt:lpstr>
      <vt:lpstr>PowerPoint Presentation</vt:lpstr>
      <vt:lpstr>PowerPoint Presentation</vt:lpstr>
      <vt:lpstr>Dynamic Copy </vt:lpstr>
      <vt:lpstr>Advertisement Creation Summary</vt:lpstr>
      <vt:lpstr>PowerPoint Presentation</vt:lpstr>
      <vt:lpstr>Push Notification Capabilities</vt:lpstr>
      <vt:lpstr>PowerPoint Presentation</vt:lpstr>
      <vt:lpstr>PowerPoint Presentation</vt:lpstr>
      <vt:lpstr>Push Messages</vt:lpstr>
      <vt:lpstr>Steps in Push Message Creation</vt:lpstr>
      <vt:lpstr>Plexure Broadcast Message Creation</vt:lpstr>
      <vt:lpstr>PowerPoint Presentation</vt:lpstr>
      <vt:lpstr>Push Messages Approval Process</vt:lpstr>
      <vt:lpstr>Feedback,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esai Chinar</dc:creator>
  <cp:lastModifiedBy>Kaur, Harjot</cp:lastModifiedBy>
  <cp:revision>841</cp:revision>
  <cp:lastPrinted>2016-08-17T06:10:16Z</cp:lastPrinted>
  <dcterms:created xsi:type="dcterms:W3CDTF">2016-07-27T14:54:37Z</dcterms:created>
  <dcterms:modified xsi:type="dcterms:W3CDTF">2023-05-16T03: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35FE645942BA42A47725B1E6544B1F</vt:lpwstr>
  </property>
</Properties>
</file>